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7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24.xml" ContentType="application/vnd.openxmlformats-officedocument.presentationml.tags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</p:sldMasterIdLst>
  <p:notesMasterIdLst>
    <p:notesMasterId r:id="rId31"/>
  </p:notesMasterIdLst>
  <p:sldIdLst>
    <p:sldId id="257" r:id="rId3"/>
    <p:sldId id="342" r:id="rId4"/>
    <p:sldId id="345" r:id="rId5"/>
    <p:sldId id="354" r:id="rId6"/>
    <p:sldId id="355" r:id="rId7"/>
    <p:sldId id="348" r:id="rId8"/>
    <p:sldId id="380" r:id="rId9"/>
    <p:sldId id="356" r:id="rId10"/>
    <p:sldId id="357" r:id="rId11"/>
    <p:sldId id="358" r:id="rId12"/>
    <p:sldId id="359" r:id="rId13"/>
    <p:sldId id="360" r:id="rId14"/>
    <p:sldId id="361" r:id="rId15"/>
    <p:sldId id="363" r:id="rId16"/>
    <p:sldId id="364" r:id="rId17"/>
    <p:sldId id="362" r:id="rId18"/>
    <p:sldId id="367" r:id="rId19"/>
    <p:sldId id="369" r:id="rId20"/>
    <p:sldId id="371" r:id="rId21"/>
    <p:sldId id="372" r:id="rId22"/>
    <p:sldId id="373" r:id="rId23"/>
    <p:sldId id="374" r:id="rId24"/>
    <p:sldId id="375" r:id="rId25"/>
    <p:sldId id="377" r:id="rId26"/>
    <p:sldId id="347" r:id="rId27"/>
    <p:sldId id="379" r:id="rId28"/>
    <p:sldId id="349" r:id="rId29"/>
    <p:sldId id="259" r:id="rId30"/>
  </p:sldIdLst>
  <p:sldSz cx="12192000" cy="6858000"/>
  <p:notesSz cx="6797675" cy="9928225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F8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A81D41-2903-4D42-BD3F-83FCF6E333EF}" v="19" dt="2025-07-08T15:21:02.9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Μεσαίο στυλ 2 - Έμφαση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Χωρίς στυλ, χωρίς πλέγμα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Φωτεινό στυλ 1 - Έμφαση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Φωτεινό στυλ 1 - Έμφαση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73" autoAdjust="0"/>
    <p:restoredTop sz="95433" autoAdjust="0"/>
  </p:normalViewPr>
  <p:slideViewPr>
    <p:cSldViewPr snapToGrid="0">
      <p:cViewPr varScale="1">
        <p:scale>
          <a:sx n="94" d="100"/>
          <a:sy n="94" d="100"/>
        </p:scale>
        <p:origin x="1314" y="312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</p:sldLst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_rels/viewProps.xml.rels><?xml version="1.0" encoding="UTF-8" standalone="yes"?>
<Relationships xmlns="http://schemas.openxmlformats.org/package/2006/relationships"><Relationship Id="rId2" Type="http://schemas.openxmlformats.org/officeDocument/2006/relationships/slide" Target="slides/slide28.xml"/><Relationship Id="rId1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A6E3D1-70AB-4F3D-812F-2E639A725584}" type="doc">
      <dgm:prSet loTypeId="urn:microsoft.com/office/officeart/2008/layout/LinedList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42F1648A-5341-4D4C-9A27-A704357F971C}">
      <dgm:prSet phldrT="[Κείμενο]" custT="1"/>
      <dgm:spPr/>
      <dgm:t>
        <a:bodyPr/>
        <a:lstStyle/>
        <a:p>
          <a:pPr algn="ctr">
            <a:spcBef>
              <a:spcPct val="0"/>
            </a:spcBef>
            <a:spcAft>
              <a:spcPct val="35000"/>
            </a:spcAft>
          </a:pPr>
          <a:endParaRPr lang="el-GR" sz="16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ctr">
            <a:spcBef>
              <a:spcPts val="600"/>
            </a:spcBef>
            <a:spcAft>
              <a:spcPts val="0"/>
            </a:spcAft>
          </a:pPr>
          <a:r>
            <a:rPr lang="el-GR" sz="1600" dirty="0">
              <a:solidFill>
                <a:schemeClr val="bg2">
                  <a:lumMod val="60000"/>
                  <a:lumOff val="4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Χρηματοδότηση</a:t>
          </a:r>
          <a:r>
            <a:rPr lang="en-US" sz="1600" dirty="0">
              <a:solidFill>
                <a:schemeClr val="bg2">
                  <a:lumMod val="60000"/>
                  <a:lumOff val="4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:</a:t>
          </a:r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l-GR" sz="16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Ταμείο Ανάκαμψης και Ανθεκτικότητας (Τ.Α.Α.)</a:t>
          </a:r>
          <a:endParaRPr lang="en-US" sz="1600" dirty="0">
            <a:solidFill>
              <a:schemeClr val="accent1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DC2B77D-2CF1-4DAF-AB45-75FBA29E2F66}" type="parTrans" cxnId="{EBFF255F-7FB1-4F43-AAC3-34B5E397CD17}">
      <dgm:prSet/>
      <dgm:spPr/>
      <dgm:t>
        <a:bodyPr/>
        <a:lstStyle/>
        <a:p>
          <a:endParaRPr lang="el-GR"/>
        </a:p>
      </dgm:t>
    </dgm:pt>
    <dgm:pt modelId="{2441135A-7B76-4DBE-870C-E926ABE05251}" type="sibTrans" cxnId="{EBFF255F-7FB1-4F43-AAC3-34B5E397CD17}">
      <dgm:prSet/>
      <dgm:spPr/>
      <dgm:t>
        <a:bodyPr/>
        <a:lstStyle/>
        <a:p>
          <a:endParaRPr lang="el-GR"/>
        </a:p>
      </dgm:t>
    </dgm:pt>
    <dgm:pt modelId="{75A1EEC1-D28B-481F-915F-7710CB8E5D5D}">
      <dgm:prSet phldrT="[Κείμενο]" custT="1"/>
      <dgm:spPr/>
      <dgm:t>
        <a:bodyPr/>
        <a:lstStyle/>
        <a:p>
          <a:pPr algn="l">
            <a:spcBef>
              <a:spcPct val="0"/>
            </a:spcBef>
            <a:spcAft>
              <a:spcPct val="35000"/>
            </a:spcAft>
          </a:pPr>
          <a:endParaRPr lang="el-GR" sz="1800" dirty="0"/>
        </a:p>
        <a:p>
          <a:pPr algn="ctr">
            <a:spcBef>
              <a:spcPts val="600"/>
            </a:spcBef>
            <a:spcAft>
              <a:spcPts val="0"/>
            </a:spcAft>
          </a:pPr>
          <a:r>
            <a:rPr lang="el-GR" sz="16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Το έργο αποτελεί τμήμα του συνολικού σχεδιασμού του Υπουργείου Υγείας για την αναβάθμιση της ποιότητας των παρεχόμενων υπηρεσιών υγείας από τα νοσοκομεία του Ε.Σ.Υ.</a:t>
          </a:r>
        </a:p>
        <a:p>
          <a:pPr algn="ctr">
            <a:spcBef>
              <a:spcPct val="0"/>
            </a:spcBef>
            <a:spcAft>
              <a:spcPct val="35000"/>
            </a:spcAft>
          </a:pPr>
          <a:endParaRPr lang="el-GR" sz="16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ctr">
            <a:spcBef>
              <a:spcPct val="0"/>
            </a:spcBef>
            <a:spcAft>
              <a:spcPct val="35000"/>
            </a:spcAft>
          </a:pPr>
          <a:endParaRPr lang="el-GR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F163300-7816-4361-956D-389D59A32114}" type="sibTrans" cxnId="{F7813D7E-7859-4490-99C7-5FBA9B4A50D9}">
      <dgm:prSet/>
      <dgm:spPr/>
      <dgm:t>
        <a:bodyPr/>
        <a:lstStyle/>
        <a:p>
          <a:endParaRPr lang="el-GR"/>
        </a:p>
      </dgm:t>
    </dgm:pt>
    <dgm:pt modelId="{1F8917E0-6A8C-4E51-8226-E87827CF9528}" type="parTrans" cxnId="{F7813D7E-7859-4490-99C7-5FBA9B4A50D9}">
      <dgm:prSet/>
      <dgm:spPr/>
      <dgm:t>
        <a:bodyPr/>
        <a:lstStyle/>
        <a:p>
          <a:endParaRPr lang="el-GR"/>
        </a:p>
      </dgm:t>
    </dgm:pt>
    <dgm:pt modelId="{E70837AD-AC02-44F2-966A-80EB74ED350D}">
      <dgm:prSet phldrT="[Κείμενο]" custT="1"/>
      <dgm:spPr/>
      <dgm:t>
        <a:bodyPr/>
        <a:lstStyle/>
        <a:p>
          <a:pPr algn="l">
            <a:spcBef>
              <a:spcPct val="0"/>
            </a:spcBef>
            <a:spcAft>
              <a:spcPct val="35000"/>
            </a:spcAft>
          </a:pPr>
          <a:endParaRPr lang="el-GR" sz="16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ctr">
            <a:spcBef>
              <a:spcPts val="600"/>
            </a:spcBef>
            <a:spcAft>
              <a:spcPts val="0"/>
            </a:spcAft>
          </a:pPr>
          <a:r>
            <a:rPr lang="el-GR" sz="16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Αφορά στη </a:t>
          </a:r>
          <a:r>
            <a:rPr lang="el-GR" sz="1600" u="sng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δημιουργία εφαρμογής </a:t>
          </a:r>
          <a:r>
            <a:rPr lang="el-GR" sz="16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για τη μέτρηση της ικανοποίησης όσων ασθενών έχουν νοσηλευθεί και έχουν λάβει εξιτήριο</a:t>
          </a:r>
          <a:r>
            <a:rPr lang="en-US" sz="16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l-GR" sz="16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από κάποιο νοσοκομείο της χώρας.</a:t>
          </a:r>
          <a:endParaRPr lang="el-GR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C7629E94-F9CA-4272-88C9-2441FE30C328}" type="parTrans" cxnId="{E7798240-C772-43FF-B5FA-D435A50D065A}">
      <dgm:prSet/>
      <dgm:spPr/>
      <dgm:t>
        <a:bodyPr/>
        <a:lstStyle/>
        <a:p>
          <a:endParaRPr lang="el-GR"/>
        </a:p>
      </dgm:t>
    </dgm:pt>
    <dgm:pt modelId="{B73CC2D9-A471-44EE-9A01-ABC5F1A14B1C}" type="sibTrans" cxnId="{E7798240-C772-43FF-B5FA-D435A50D065A}">
      <dgm:prSet/>
      <dgm:spPr/>
      <dgm:t>
        <a:bodyPr/>
        <a:lstStyle/>
        <a:p>
          <a:endParaRPr lang="el-GR"/>
        </a:p>
      </dgm:t>
    </dgm:pt>
    <dgm:pt modelId="{5EA9E4B5-612E-4843-80DA-D171F557E403}">
      <dgm:prSet phldrT="[Κείμενο]" custT="1"/>
      <dgm:spPr/>
      <dgm:t>
        <a:bodyPr/>
        <a:lstStyle/>
        <a:p>
          <a:pPr algn="ctr"/>
          <a:endParaRPr lang="el-GR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2AD03B7-20F6-4DF1-939B-61EFA338E58F}" type="parTrans" cxnId="{7AA25493-7229-436D-9593-1044D1F63164}">
      <dgm:prSet/>
      <dgm:spPr/>
      <dgm:t>
        <a:bodyPr/>
        <a:lstStyle/>
        <a:p>
          <a:endParaRPr lang="el-GR"/>
        </a:p>
      </dgm:t>
    </dgm:pt>
    <dgm:pt modelId="{02F5D6B2-BC1B-460D-AABC-1645E0ABC93A}" type="sibTrans" cxnId="{7AA25493-7229-436D-9593-1044D1F63164}">
      <dgm:prSet/>
      <dgm:spPr/>
      <dgm:t>
        <a:bodyPr/>
        <a:lstStyle/>
        <a:p>
          <a:endParaRPr lang="el-GR"/>
        </a:p>
      </dgm:t>
    </dgm:pt>
    <dgm:pt modelId="{2D01FC04-BDE8-4DFB-9022-3E567A51626F}" type="pres">
      <dgm:prSet presAssocID="{DAA6E3D1-70AB-4F3D-812F-2E639A725584}" presName="vert0" presStyleCnt="0">
        <dgm:presLayoutVars>
          <dgm:dir/>
          <dgm:animOne val="branch"/>
          <dgm:animLvl val="lvl"/>
        </dgm:presLayoutVars>
      </dgm:prSet>
      <dgm:spPr/>
    </dgm:pt>
    <dgm:pt modelId="{F0A408E4-E400-45E5-9438-F47DE769999A}" type="pres">
      <dgm:prSet presAssocID="{75A1EEC1-D28B-481F-915F-7710CB8E5D5D}" presName="thickLine" presStyleLbl="alignNode1" presStyleIdx="0" presStyleCnt="4"/>
      <dgm:spPr/>
    </dgm:pt>
    <dgm:pt modelId="{46265817-C00C-468C-9FFE-CA08A3B29DEE}" type="pres">
      <dgm:prSet presAssocID="{75A1EEC1-D28B-481F-915F-7710CB8E5D5D}" presName="horz1" presStyleCnt="0"/>
      <dgm:spPr/>
    </dgm:pt>
    <dgm:pt modelId="{1E3A7EDD-79ED-4250-A258-A67A9BEE2495}" type="pres">
      <dgm:prSet presAssocID="{75A1EEC1-D28B-481F-915F-7710CB8E5D5D}" presName="tx1" presStyleLbl="revTx" presStyleIdx="0" presStyleCnt="4" custScaleY="153473"/>
      <dgm:spPr/>
    </dgm:pt>
    <dgm:pt modelId="{E0888559-D85B-44C6-9538-F8CE2AB15882}" type="pres">
      <dgm:prSet presAssocID="{75A1EEC1-D28B-481F-915F-7710CB8E5D5D}" presName="vert1" presStyleCnt="0"/>
      <dgm:spPr/>
    </dgm:pt>
    <dgm:pt modelId="{0AB8F8FE-5BB5-4921-B518-60AE0EA84C53}" type="pres">
      <dgm:prSet presAssocID="{E70837AD-AC02-44F2-966A-80EB74ED350D}" presName="thickLine" presStyleLbl="alignNode1" presStyleIdx="1" presStyleCnt="4"/>
      <dgm:spPr/>
    </dgm:pt>
    <dgm:pt modelId="{0D335E25-A8C3-4D96-B410-2965B71A4228}" type="pres">
      <dgm:prSet presAssocID="{E70837AD-AC02-44F2-966A-80EB74ED350D}" presName="horz1" presStyleCnt="0"/>
      <dgm:spPr/>
    </dgm:pt>
    <dgm:pt modelId="{3009B328-FA9D-4251-A559-F56227E3C5FA}" type="pres">
      <dgm:prSet presAssocID="{E70837AD-AC02-44F2-966A-80EB74ED350D}" presName="tx1" presStyleLbl="revTx" presStyleIdx="1" presStyleCnt="4" custScaleY="151543"/>
      <dgm:spPr/>
    </dgm:pt>
    <dgm:pt modelId="{7B979E29-64A3-4494-B5B2-78E4C25E28A8}" type="pres">
      <dgm:prSet presAssocID="{E70837AD-AC02-44F2-966A-80EB74ED350D}" presName="vert1" presStyleCnt="0"/>
      <dgm:spPr/>
    </dgm:pt>
    <dgm:pt modelId="{D2E78E90-4C19-4BFD-8D67-4B67ECBA13D5}" type="pres">
      <dgm:prSet presAssocID="{42F1648A-5341-4D4C-9A27-A704357F971C}" presName="thickLine" presStyleLbl="alignNode1" presStyleIdx="2" presStyleCnt="4"/>
      <dgm:spPr/>
    </dgm:pt>
    <dgm:pt modelId="{7420AA77-12A2-4B69-A0CD-E6E3EA7306E8}" type="pres">
      <dgm:prSet presAssocID="{42F1648A-5341-4D4C-9A27-A704357F971C}" presName="horz1" presStyleCnt="0"/>
      <dgm:spPr/>
    </dgm:pt>
    <dgm:pt modelId="{DF454BB6-CC2B-42C0-B77D-77D4E1769066}" type="pres">
      <dgm:prSet presAssocID="{42F1648A-5341-4D4C-9A27-A704357F971C}" presName="tx1" presStyleLbl="revTx" presStyleIdx="2" presStyleCnt="4" custScaleY="123571"/>
      <dgm:spPr/>
    </dgm:pt>
    <dgm:pt modelId="{3FE0D44A-CCC0-4FC1-8A14-119DA6CF2436}" type="pres">
      <dgm:prSet presAssocID="{42F1648A-5341-4D4C-9A27-A704357F971C}" presName="vert1" presStyleCnt="0"/>
      <dgm:spPr/>
    </dgm:pt>
    <dgm:pt modelId="{5FC83DB6-B629-4C58-A4E3-F01EA9EA45F1}" type="pres">
      <dgm:prSet presAssocID="{5EA9E4B5-612E-4843-80DA-D171F557E403}" presName="thickLine" presStyleLbl="alignNode1" presStyleIdx="3" presStyleCnt="4" custLinFactNeighborX="-539" custLinFactNeighborY="951"/>
      <dgm:spPr/>
    </dgm:pt>
    <dgm:pt modelId="{28AAFA16-9F72-4AC4-B903-0E0EE5DD1099}" type="pres">
      <dgm:prSet presAssocID="{5EA9E4B5-612E-4843-80DA-D171F557E403}" presName="horz1" presStyleCnt="0"/>
      <dgm:spPr/>
    </dgm:pt>
    <dgm:pt modelId="{A4ABAAFF-0074-4F08-BF82-993C08E4B3F2}" type="pres">
      <dgm:prSet presAssocID="{5EA9E4B5-612E-4843-80DA-D171F557E403}" presName="tx1" presStyleLbl="revTx" presStyleIdx="3" presStyleCnt="4"/>
      <dgm:spPr/>
    </dgm:pt>
    <dgm:pt modelId="{F7D9B1BB-A6D6-4B63-9591-3C63A261DB62}" type="pres">
      <dgm:prSet presAssocID="{5EA9E4B5-612E-4843-80DA-D171F557E403}" presName="vert1" presStyleCnt="0"/>
      <dgm:spPr/>
    </dgm:pt>
  </dgm:ptLst>
  <dgm:cxnLst>
    <dgm:cxn modelId="{E7798240-C772-43FF-B5FA-D435A50D065A}" srcId="{DAA6E3D1-70AB-4F3D-812F-2E639A725584}" destId="{E70837AD-AC02-44F2-966A-80EB74ED350D}" srcOrd="1" destOrd="0" parTransId="{C7629E94-F9CA-4272-88C9-2441FE30C328}" sibTransId="{B73CC2D9-A471-44EE-9A01-ABC5F1A14B1C}"/>
    <dgm:cxn modelId="{39EBA240-BCBC-4EE6-AA79-8ED065F1915A}" type="presOf" srcId="{75A1EEC1-D28B-481F-915F-7710CB8E5D5D}" destId="{1E3A7EDD-79ED-4250-A258-A67A9BEE2495}" srcOrd="0" destOrd="0" presId="urn:microsoft.com/office/officeart/2008/layout/LinedList"/>
    <dgm:cxn modelId="{EBFF255F-7FB1-4F43-AAC3-34B5E397CD17}" srcId="{DAA6E3D1-70AB-4F3D-812F-2E639A725584}" destId="{42F1648A-5341-4D4C-9A27-A704357F971C}" srcOrd="2" destOrd="0" parTransId="{3DC2B77D-2CF1-4DAF-AB45-75FBA29E2F66}" sibTransId="{2441135A-7B76-4DBE-870C-E926ABE05251}"/>
    <dgm:cxn modelId="{F7813D7E-7859-4490-99C7-5FBA9B4A50D9}" srcId="{DAA6E3D1-70AB-4F3D-812F-2E639A725584}" destId="{75A1EEC1-D28B-481F-915F-7710CB8E5D5D}" srcOrd="0" destOrd="0" parTransId="{1F8917E0-6A8C-4E51-8226-E87827CF9528}" sibTransId="{5F163300-7816-4361-956D-389D59A32114}"/>
    <dgm:cxn modelId="{003F658E-778A-4CB3-A39A-DB158D26DD5B}" type="presOf" srcId="{DAA6E3D1-70AB-4F3D-812F-2E639A725584}" destId="{2D01FC04-BDE8-4DFB-9022-3E567A51626F}" srcOrd="0" destOrd="0" presId="urn:microsoft.com/office/officeart/2008/layout/LinedList"/>
    <dgm:cxn modelId="{7AA25493-7229-436D-9593-1044D1F63164}" srcId="{DAA6E3D1-70AB-4F3D-812F-2E639A725584}" destId="{5EA9E4B5-612E-4843-80DA-D171F557E403}" srcOrd="3" destOrd="0" parTransId="{B2AD03B7-20F6-4DF1-939B-61EFA338E58F}" sibTransId="{02F5D6B2-BC1B-460D-AABC-1645E0ABC93A}"/>
    <dgm:cxn modelId="{F3B7CCB5-75FB-4E90-80EC-D9B2E18E2927}" type="presOf" srcId="{42F1648A-5341-4D4C-9A27-A704357F971C}" destId="{DF454BB6-CC2B-42C0-B77D-77D4E1769066}" srcOrd="0" destOrd="0" presId="urn:microsoft.com/office/officeart/2008/layout/LinedList"/>
    <dgm:cxn modelId="{7EF1A6B9-43DA-4395-8689-61EA87F6CADA}" type="presOf" srcId="{E70837AD-AC02-44F2-966A-80EB74ED350D}" destId="{3009B328-FA9D-4251-A559-F56227E3C5FA}" srcOrd="0" destOrd="0" presId="urn:microsoft.com/office/officeart/2008/layout/LinedList"/>
    <dgm:cxn modelId="{9DBB6BE2-83A5-4670-8E3A-D219D420F615}" type="presOf" srcId="{5EA9E4B5-612E-4843-80DA-D171F557E403}" destId="{A4ABAAFF-0074-4F08-BF82-993C08E4B3F2}" srcOrd="0" destOrd="0" presId="urn:microsoft.com/office/officeart/2008/layout/LinedList"/>
    <dgm:cxn modelId="{6F771991-C66C-4D7E-AF8F-1C2798ADCD4A}" type="presParOf" srcId="{2D01FC04-BDE8-4DFB-9022-3E567A51626F}" destId="{F0A408E4-E400-45E5-9438-F47DE769999A}" srcOrd="0" destOrd="0" presId="urn:microsoft.com/office/officeart/2008/layout/LinedList"/>
    <dgm:cxn modelId="{4013C41C-600F-4ECE-AD91-A265C952EDA0}" type="presParOf" srcId="{2D01FC04-BDE8-4DFB-9022-3E567A51626F}" destId="{46265817-C00C-468C-9FFE-CA08A3B29DEE}" srcOrd="1" destOrd="0" presId="urn:microsoft.com/office/officeart/2008/layout/LinedList"/>
    <dgm:cxn modelId="{6684EC0B-EE07-4729-B8C7-484833624F33}" type="presParOf" srcId="{46265817-C00C-468C-9FFE-CA08A3B29DEE}" destId="{1E3A7EDD-79ED-4250-A258-A67A9BEE2495}" srcOrd="0" destOrd="0" presId="urn:microsoft.com/office/officeart/2008/layout/LinedList"/>
    <dgm:cxn modelId="{41CECF6D-9352-49A4-84F3-5CD71973D6B4}" type="presParOf" srcId="{46265817-C00C-468C-9FFE-CA08A3B29DEE}" destId="{E0888559-D85B-44C6-9538-F8CE2AB15882}" srcOrd="1" destOrd="0" presId="urn:microsoft.com/office/officeart/2008/layout/LinedList"/>
    <dgm:cxn modelId="{F219CFC3-AEC7-4B3A-86B3-2CE087187283}" type="presParOf" srcId="{2D01FC04-BDE8-4DFB-9022-3E567A51626F}" destId="{0AB8F8FE-5BB5-4921-B518-60AE0EA84C53}" srcOrd="2" destOrd="0" presId="urn:microsoft.com/office/officeart/2008/layout/LinedList"/>
    <dgm:cxn modelId="{4CD2871E-FBF0-41BC-8D9D-49B673933A00}" type="presParOf" srcId="{2D01FC04-BDE8-4DFB-9022-3E567A51626F}" destId="{0D335E25-A8C3-4D96-B410-2965B71A4228}" srcOrd="3" destOrd="0" presId="urn:microsoft.com/office/officeart/2008/layout/LinedList"/>
    <dgm:cxn modelId="{BC1D23CF-21BC-4932-9135-1FC0888547BF}" type="presParOf" srcId="{0D335E25-A8C3-4D96-B410-2965B71A4228}" destId="{3009B328-FA9D-4251-A559-F56227E3C5FA}" srcOrd="0" destOrd="0" presId="urn:microsoft.com/office/officeart/2008/layout/LinedList"/>
    <dgm:cxn modelId="{42D06C02-450F-47E7-9427-DE2AE3EBAC91}" type="presParOf" srcId="{0D335E25-A8C3-4D96-B410-2965B71A4228}" destId="{7B979E29-64A3-4494-B5B2-78E4C25E28A8}" srcOrd="1" destOrd="0" presId="urn:microsoft.com/office/officeart/2008/layout/LinedList"/>
    <dgm:cxn modelId="{D3877CBE-1DF7-4E0C-8A68-F0A1E0810BAA}" type="presParOf" srcId="{2D01FC04-BDE8-4DFB-9022-3E567A51626F}" destId="{D2E78E90-4C19-4BFD-8D67-4B67ECBA13D5}" srcOrd="4" destOrd="0" presId="urn:microsoft.com/office/officeart/2008/layout/LinedList"/>
    <dgm:cxn modelId="{406411C1-FE4F-4E8A-9499-039CC36D7CB9}" type="presParOf" srcId="{2D01FC04-BDE8-4DFB-9022-3E567A51626F}" destId="{7420AA77-12A2-4B69-A0CD-E6E3EA7306E8}" srcOrd="5" destOrd="0" presId="urn:microsoft.com/office/officeart/2008/layout/LinedList"/>
    <dgm:cxn modelId="{1A2CACBF-D33C-4452-9818-C6E50237E30D}" type="presParOf" srcId="{7420AA77-12A2-4B69-A0CD-E6E3EA7306E8}" destId="{DF454BB6-CC2B-42C0-B77D-77D4E1769066}" srcOrd="0" destOrd="0" presId="urn:microsoft.com/office/officeart/2008/layout/LinedList"/>
    <dgm:cxn modelId="{89877184-B641-41A4-AE2E-3469DA114FFA}" type="presParOf" srcId="{7420AA77-12A2-4B69-A0CD-E6E3EA7306E8}" destId="{3FE0D44A-CCC0-4FC1-8A14-119DA6CF2436}" srcOrd="1" destOrd="0" presId="urn:microsoft.com/office/officeart/2008/layout/LinedList"/>
    <dgm:cxn modelId="{CFB83B24-C335-41B7-A581-382CD75BED84}" type="presParOf" srcId="{2D01FC04-BDE8-4DFB-9022-3E567A51626F}" destId="{5FC83DB6-B629-4C58-A4E3-F01EA9EA45F1}" srcOrd="6" destOrd="0" presId="urn:microsoft.com/office/officeart/2008/layout/LinedList"/>
    <dgm:cxn modelId="{029D1A45-E16B-401D-B961-16D62B185AF1}" type="presParOf" srcId="{2D01FC04-BDE8-4DFB-9022-3E567A51626F}" destId="{28AAFA16-9F72-4AC4-B903-0E0EE5DD1099}" srcOrd="7" destOrd="0" presId="urn:microsoft.com/office/officeart/2008/layout/LinedList"/>
    <dgm:cxn modelId="{8EDE4EE8-FEB0-4E01-99C7-B71E8218B9D6}" type="presParOf" srcId="{28AAFA16-9F72-4AC4-B903-0E0EE5DD1099}" destId="{A4ABAAFF-0074-4F08-BF82-993C08E4B3F2}" srcOrd="0" destOrd="0" presId="urn:microsoft.com/office/officeart/2008/layout/LinedList"/>
    <dgm:cxn modelId="{5BD90838-765C-40BB-875D-C0602AA66B0C}" type="presParOf" srcId="{28AAFA16-9F72-4AC4-B903-0E0EE5DD1099}" destId="{F7D9B1BB-A6D6-4B63-9591-3C63A261DB62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D6492229-0BD6-42EB-AAEB-7D7001B13461}" type="doc">
      <dgm:prSet loTypeId="urn:microsoft.com/office/officeart/2005/8/layout/defaul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l-GR"/>
        </a:p>
      </dgm:t>
    </dgm:pt>
    <dgm:pt modelId="{E40A722E-5A8C-4795-BC4F-06840FE8B1CB}">
      <dgm:prSet phldrT="[Κείμενο]" custT="1"/>
      <dgm:spPr/>
      <dgm:t>
        <a:bodyPr/>
        <a:lstStyle/>
        <a:p>
          <a:r>
            <a:rPr lang="el-GR" sz="1800" dirty="0">
              <a:latin typeface="Calibri" panose="020F0502020204030204" pitchFamily="34" charset="0"/>
              <a:cs typeface="Calibri" panose="020F0502020204030204" pitchFamily="34" charset="0"/>
            </a:rPr>
            <a:t>Έγκαιρος εντοπισμός προβλημάτων &amp; χάραξη τεκμηριωμένων πολιτικών</a:t>
          </a:r>
        </a:p>
      </dgm:t>
    </dgm:pt>
    <dgm:pt modelId="{8D542020-4787-4E05-8A7E-84F5CC2870B7}" type="parTrans" cxnId="{A6D059EC-F27B-43A4-9710-AC1E8B07D694}">
      <dgm:prSet/>
      <dgm:spPr/>
      <dgm:t>
        <a:bodyPr/>
        <a:lstStyle/>
        <a:p>
          <a:endParaRPr lang="el-GR"/>
        </a:p>
      </dgm:t>
    </dgm:pt>
    <dgm:pt modelId="{F0C71CEA-8EDD-4A97-B3EF-E9FC6792734C}" type="sibTrans" cxnId="{A6D059EC-F27B-43A4-9710-AC1E8B07D694}">
      <dgm:prSet/>
      <dgm:spPr/>
      <dgm:t>
        <a:bodyPr/>
        <a:lstStyle/>
        <a:p>
          <a:endParaRPr lang="el-GR"/>
        </a:p>
      </dgm:t>
    </dgm:pt>
    <dgm:pt modelId="{F1C50453-6B4D-442E-80AD-D5AA54452048}">
      <dgm:prSet phldrT="[Κείμενο]" custT="1"/>
      <dgm:spPr/>
      <dgm:t>
        <a:bodyPr/>
        <a:lstStyle/>
        <a:p>
          <a:r>
            <a:rPr lang="el-GR" sz="1800" dirty="0">
              <a:latin typeface="Calibri" panose="020F0502020204030204" pitchFamily="34" charset="0"/>
              <a:cs typeface="Calibri" panose="020F0502020204030204" pitchFamily="34" charset="0"/>
            </a:rPr>
            <a:t>Βελτίωση της  αποτελεσματικότητας &amp; της αποδοτικότητας των νοσοκομείων </a:t>
          </a:r>
        </a:p>
      </dgm:t>
    </dgm:pt>
    <dgm:pt modelId="{2401952E-13A8-41CE-BD6F-D827AD047D7E}" type="parTrans" cxnId="{B5FE745D-ECFC-443A-96FD-5866368FA34D}">
      <dgm:prSet/>
      <dgm:spPr/>
      <dgm:t>
        <a:bodyPr/>
        <a:lstStyle/>
        <a:p>
          <a:endParaRPr lang="el-GR"/>
        </a:p>
      </dgm:t>
    </dgm:pt>
    <dgm:pt modelId="{5680F26E-8A6E-4B47-8C0A-539509A8D361}" type="sibTrans" cxnId="{B5FE745D-ECFC-443A-96FD-5866368FA34D}">
      <dgm:prSet/>
      <dgm:spPr/>
      <dgm:t>
        <a:bodyPr/>
        <a:lstStyle/>
        <a:p>
          <a:endParaRPr lang="el-GR"/>
        </a:p>
      </dgm:t>
    </dgm:pt>
    <dgm:pt modelId="{A8C08B2D-D398-4D82-998E-04FC43341CAB}">
      <dgm:prSet phldrT="[Κείμενο]" custT="1"/>
      <dgm:spPr/>
      <dgm:t>
        <a:bodyPr/>
        <a:lstStyle/>
        <a:p>
          <a:r>
            <a:rPr lang="el-GR" sz="1800" dirty="0">
              <a:latin typeface="Calibri" panose="020F0502020204030204" pitchFamily="34" charset="0"/>
              <a:cs typeface="Calibri" panose="020F0502020204030204" pitchFamily="34" charset="0"/>
            </a:rPr>
            <a:t>Μείωση των ανεκπλήρωτων αναγκών του πληθυσμού</a:t>
          </a:r>
        </a:p>
      </dgm:t>
    </dgm:pt>
    <dgm:pt modelId="{6E125B73-C4F3-43E4-920A-73A6ECB4AEB6}" type="parTrans" cxnId="{8DD6C751-FCBF-45F6-84DB-34CC4FFF3853}">
      <dgm:prSet/>
      <dgm:spPr/>
      <dgm:t>
        <a:bodyPr/>
        <a:lstStyle/>
        <a:p>
          <a:endParaRPr lang="el-GR"/>
        </a:p>
      </dgm:t>
    </dgm:pt>
    <dgm:pt modelId="{C05F62EC-5B5E-45B3-A73C-B050983A1786}" type="sibTrans" cxnId="{8DD6C751-FCBF-45F6-84DB-34CC4FFF3853}">
      <dgm:prSet/>
      <dgm:spPr/>
      <dgm:t>
        <a:bodyPr/>
        <a:lstStyle/>
        <a:p>
          <a:endParaRPr lang="el-GR"/>
        </a:p>
      </dgm:t>
    </dgm:pt>
    <dgm:pt modelId="{48C7A23B-6620-45FE-BDBC-6FEA03C1F952}">
      <dgm:prSet phldrT="[Κείμενο]" custT="1"/>
      <dgm:spPr/>
      <dgm:t>
        <a:bodyPr/>
        <a:lstStyle/>
        <a:p>
          <a:r>
            <a:rPr lang="el-GR" sz="1800" dirty="0">
              <a:latin typeface="Calibri" panose="020F0502020204030204" pitchFamily="34" charset="0"/>
              <a:cs typeface="Calibri" panose="020F0502020204030204" pitchFamily="34" charset="0"/>
            </a:rPr>
            <a:t>Ενίσχυση της ανθρωποκεντρικής διάστασης του Ε.Σ.Υ. </a:t>
          </a:r>
        </a:p>
      </dgm:t>
    </dgm:pt>
    <dgm:pt modelId="{27CED76D-E43F-496A-9A6C-3B3FF7D0BCFE}" type="parTrans" cxnId="{C24F812E-8CFE-4D49-B279-3BE2A5F08C28}">
      <dgm:prSet/>
      <dgm:spPr/>
      <dgm:t>
        <a:bodyPr/>
        <a:lstStyle/>
        <a:p>
          <a:endParaRPr lang="el-GR"/>
        </a:p>
      </dgm:t>
    </dgm:pt>
    <dgm:pt modelId="{35A1D231-1F40-4890-954E-79DB82FA896C}" type="sibTrans" cxnId="{C24F812E-8CFE-4D49-B279-3BE2A5F08C28}">
      <dgm:prSet/>
      <dgm:spPr/>
      <dgm:t>
        <a:bodyPr/>
        <a:lstStyle/>
        <a:p>
          <a:endParaRPr lang="el-GR"/>
        </a:p>
      </dgm:t>
    </dgm:pt>
    <dgm:pt modelId="{2FE14970-8E9B-42C3-B6D7-E19FB96BF472}">
      <dgm:prSet phldrT="[Κείμενο]" custT="1"/>
      <dgm:spPr/>
      <dgm:t>
        <a:bodyPr/>
        <a:lstStyle/>
        <a:p>
          <a:r>
            <a:rPr lang="el-GR" sz="1800" dirty="0">
              <a:latin typeface="Calibri" panose="020F0502020204030204" pitchFamily="34" charset="0"/>
              <a:cs typeface="Calibri" panose="020F0502020204030204" pitchFamily="34" charset="0"/>
            </a:rPr>
            <a:t>Πραγματοποίηση συγκρίσεων &amp; εντοπισμός καλών πρακτικών</a:t>
          </a:r>
        </a:p>
      </dgm:t>
    </dgm:pt>
    <dgm:pt modelId="{05C3E9DA-0248-44B2-B61A-EB3B84908B15}" type="parTrans" cxnId="{82605F66-1B75-4C9B-BBAA-1753CDFF956C}">
      <dgm:prSet/>
      <dgm:spPr/>
      <dgm:t>
        <a:bodyPr/>
        <a:lstStyle/>
        <a:p>
          <a:endParaRPr lang="el-GR"/>
        </a:p>
      </dgm:t>
    </dgm:pt>
    <dgm:pt modelId="{59AD46CB-C29A-4883-9A81-E6771C1D6286}" type="sibTrans" cxnId="{82605F66-1B75-4C9B-BBAA-1753CDFF956C}">
      <dgm:prSet/>
      <dgm:spPr/>
      <dgm:t>
        <a:bodyPr/>
        <a:lstStyle/>
        <a:p>
          <a:endParaRPr lang="el-GR"/>
        </a:p>
      </dgm:t>
    </dgm:pt>
    <dgm:pt modelId="{8FAAB56E-9CCE-44FA-BA52-301DD022BD69}">
      <dgm:prSet phldrT="[Κείμενο]" custT="1"/>
      <dgm:spPr/>
      <dgm:t>
        <a:bodyPr/>
        <a:lstStyle/>
        <a:p>
          <a:r>
            <a:rPr lang="el-GR" sz="1800" dirty="0">
              <a:latin typeface="Calibri" panose="020F0502020204030204" pitchFamily="34" charset="0"/>
              <a:cs typeface="Calibri" panose="020F0502020204030204" pitchFamily="34" charset="0"/>
            </a:rPr>
            <a:t>Βελτίωση της ποιότητας των παρεχόμενων υπηρεσιών </a:t>
          </a:r>
        </a:p>
      </dgm:t>
    </dgm:pt>
    <dgm:pt modelId="{A0E0F800-5FAA-4EF0-BF26-8709ADB78B1D}" type="parTrans" cxnId="{A0ABF9DB-CE73-4358-A2F3-478E1D9FF313}">
      <dgm:prSet/>
      <dgm:spPr/>
      <dgm:t>
        <a:bodyPr/>
        <a:lstStyle/>
        <a:p>
          <a:endParaRPr lang="el-GR"/>
        </a:p>
      </dgm:t>
    </dgm:pt>
    <dgm:pt modelId="{49A798D6-89D0-4B86-AB2C-CA28C52B6490}" type="sibTrans" cxnId="{A0ABF9DB-CE73-4358-A2F3-478E1D9FF313}">
      <dgm:prSet/>
      <dgm:spPr/>
      <dgm:t>
        <a:bodyPr/>
        <a:lstStyle/>
        <a:p>
          <a:endParaRPr lang="el-GR"/>
        </a:p>
      </dgm:t>
    </dgm:pt>
    <dgm:pt modelId="{DA2F83E0-DD7D-4634-ACB8-1F4D9A8A6FA2}" type="pres">
      <dgm:prSet presAssocID="{D6492229-0BD6-42EB-AAEB-7D7001B13461}" presName="diagram" presStyleCnt="0">
        <dgm:presLayoutVars>
          <dgm:dir/>
          <dgm:resizeHandles val="exact"/>
        </dgm:presLayoutVars>
      </dgm:prSet>
      <dgm:spPr/>
    </dgm:pt>
    <dgm:pt modelId="{46087FDB-7FFC-4DBE-8299-134911E3E555}" type="pres">
      <dgm:prSet presAssocID="{E40A722E-5A8C-4795-BC4F-06840FE8B1CB}" presName="node" presStyleLbl="node1" presStyleIdx="0" presStyleCnt="6">
        <dgm:presLayoutVars>
          <dgm:bulletEnabled val="1"/>
        </dgm:presLayoutVars>
      </dgm:prSet>
      <dgm:spPr/>
    </dgm:pt>
    <dgm:pt modelId="{0D5ADA8F-A47D-42D2-B5D3-A5525420BC4D}" type="pres">
      <dgm:prSet presAssocID="{F0C71CEA-8EDD-4A97-B3EF-E9FC6792734C}" presName="sibTrans" presStyleCnt="0"/>
      <dgm:spPr/>
    </dgm:pt>
    <dgm:pt modelId="{78FAA294-35ED-4733-9143-2F537425C504}" type="pres">
      <dgm:prSet presAssocID="{F1C50453-6B4D-442E-80AD-D5AA54452048}" presName="node" presStyleLbl="node1" presStyleIdx="1" presStyleCnt="6">
        <dgm:presLayoutVars>
          <dgm:bulletEnabled val="1"/>
        </dgm:presLayoutVars>
      </dgm:prSet>
      <dgm:spPr/>
    </dgm:pt>
    <dgm:pt modelId="{BA2F5045-A4A6-4698-B21E-CB512DC6A0F8}" type="pres">
      <dgm:prSet presAssocID="{5680F26E-8A6E-4B47-8C0A-539509A8D361}" presName="sibTrans" presStyleCnt="0"/>
      <dgm:spPr/>
    </dgm:pt>
    <dgm:pt modelId="{FB2D3D5B-59B9-435B-B2E0-3283A171F684}" type="pres">
      <dgm:prSet presAssocID="{8FAAB56E-9CCE-44FA-BA52-301DD022BD69}" presName="node" presStyleLbl="node1" presStyleIdx="2" presStyleCnt="6">
        <dgm:presLayoutVars>
          <dgm:bulletEnabled val="1"/>
        </dgm:presLayoutVars>
      </dgm:prSet>
      <dgm:spPr/>
    </dgm:pt>
    <dgm:pt modelId="{4C36FDEC-957D-4A07-A228-A7B9D973EE35}" type="pres">
      <dgm:prSet presAssocID="{49A798D6-89D0-4B86-AB2C-CA28C52B6490}" presName="sibTrans" presStyleCnt="0"/>
      <dgm:spPr/>
    </dgm:pt>
    <dgm:pt modelId="{715A3F11-8641-486C-844B-5C34F1D5BE72}" type="pres">
      <dgm:prSet presAssocID="{A8C08B2D-D398-4D82-998E-04FC43341CAB}" presName="node" presStyleLbl="node1" presStyleIdx="3" presStyleCnt="6" custLinFactNeighborX="1024" custLinFactNeighborY="535">
        <dgm:presLayoutVars>
          <dgm:bulletEnabled val="1"/>
        </dgm:presLayoutVars>
      </dgm:prSet>
      <dgm:spPr/>
    </dgm:pt>
    <dgm:pt modelId="{140BE68B-F420-46F7-814C-50CED107ED99}" type="pres">
      <dgm:prSet presAssocID="{C05F62EC-5B5E-45B3-A73C-B050983A1786}" presName="sibTrans" presStyleCnt="0"/>
      <dgm:spPr/>
    </dgm:pt>
    <dgm:pt modelId="{9FD257DA-C086-4ADF-BC9E-5CC9D3E16A02}" type="pres">
      <dgm:prSet presAssocID="{48C7A23B-6620-45FE-BDBC-6FEA03C1F952}" presName="node" presStyleLbl="node1" presStyleIdx="4" presStyleCnt="6">
        <dgm:presLayoutVars>
          <dgm:bulletEnabled val="1"/>
        </dgm:presLayoutVars>
      </dgm:prSet>
      <dgm:spPr/>
    </dgm:pt>
    <dgm:pt modelId="{95A28CEC-0E9B-4877-80C9-7044DCEDF125}" type="pres">
      <dgm:prSet presAssocID="{35A1D231-1F40-4890-954E-79DB82FA896C}" presName="sibTrans" presStyleCnt="0"/>
      <dgm:spPr/>
    </dgm:pt>
    <dgm:pt modelId="{4B9646DB-F704-4168-9501-BBDF96E226C9}" type="pres">
      <dgm:prSet presAssocID="{2FE14970-8E9B-42C3-B6D7-E19FB96BF472}" presName="node" presStyleLbl="node1" presStyleIdx="5" presStyleCnt="6">
        <dgm:presLayoutVars>
          <dgm:bulletEnabled val="1"/>
        </dgm:presLayoutVars>
      </dgm:prSet>
      <dgm:spPr/>
    </dgm:pt>
  </dgm:ptLst>
  <dgm:cxnLst>
    <dgm:cxn modelId="{C24F812E-8CFE-4D49-B279-3BE2A5F08C28}" srcId="{D6492229-0BD6-42EB-AAEB-7D7001B13461}" destId="{48C7A23B-6620-45FE-BDBC-6FEA03C1F952}" srcOrd="4" destOrd="0" parTransId="{27CED76D-E43F-496A-9A6C-3B3FF7D0BCFE}" sibTransId="{35A1D231-1F40-4890-954E-79DB82FA896C}"/>
    <dgm:cxn modelId="{B5FE745D-ECFC-443A-96FD-5866368FA34D}" srcId="{D6492229-0BD6-42EB-AAEB-7D7001B13461}" destId="{F1C50453-6B4D-442E-80AD-D5AA54452048}" srcOrd="1" destOrd="0" parTransId="{2401952E-13A8-41CE-BD6F-D827AD047D7E}" sibTransId="{5680F26E-8A6E-4B47-8C0A-539509A8D361}"/>
    <dgm:cxn modelId="{4F8E135E-77BB-4072-A04A-EFD828B55CC8}" type="presOf" srcId="{D6492229-0BD6-42EB-AAEB-7D7001B13461}" destId="{DA2F83E0-DD7D-4634-ACB8-1F4D9A8A6FA2}" srcOrd="0" destOrd="0" presId="urn:microsoft.com/office/officeart/2005/8/layout/default"/>
    <dgm:cxn modelId="{88532665-2EBC-4BEA-8C2C-7DC0976DE73A}" type="presOf" srcId="{8FAAB56E-9CCE-44FA-BA52-301DD022BD69}" destId="{FB2D3D5B-59B9-435B-B2E0-3283A171F684}" srcOrd="0" destOrd="0" presId="urn:microsoft.com/office/officeart/2005/8/layout/default"/>
    <dgm:cxn modelId="{82605F66-1B75-4C9B-BBAA-1753CDFF956C}" srcId="{D6492229-0BD6-42EB-AAEB-7D7001B13461}" destId="{2FE14970-8E9B-42C3-B6D7-E19FB96BF472}" srcOrd="5" destOrd="0" parTransId="{05C3E9DA-0248-44B2-B61A-EB3B84908B15}" sibTransId="{59AD46CB-C29A-4883-9A81-E6771C1D6286}"/>
    <dgm:cxn modelId="{EF57964A-644F-4DBA-A5AC-63CBB4F56C51}" type="presOf" srcId="{F1C50453-6B4D-442E-80AD-D5AA54452048}" destId="{78FAA294-35ED-4733-9143-2F537425C504}" srcOrd="0" destOrd="0" presId="urn:microsoft.com/office/officeart/2005/8/layout/default"/>
    <dgm:cxn modelId="{8DD6C751-FCBF-45F6-84DB-34CC4FFF3853}" srcId="{D6492229-0BD6-42EB-AAEB-7D7001B13461}" destId="{A8C08B2D-D398-4D82-998E-04FC43341CAB}" srcOrd="3" destOrd="0" parTransId="{6E125B73-C4F3-43E4-920A-73A6ECB4AEB6}" sibTransId="{C05F62EC-5B5E-45B3-A73C-B050983A1786}"/>
    <dgm:cxn modelId="{C3F5387C-546E-43E3-B791-9786F3E477B4}" type="presOf" srcId="{A8C08B2D-D398-4D82-998E-04FC43341CAB}" destId="{715A3F11-8641-486C-844B-5C34F1D5BE72}" srcOrd="0" destOrd="0" presId="urn:microsoft.com/office/officeart/2005/8/layout/default"/>
    <dgm:cxn modelId="{6DF10D9D-C16F-4CD6-AF25-69C8A05563FC}" type="presOf" srcId="{E40A722E-5A8C-4795-BC4F-06840FE8B1CB}" destId="{46087FDB-7FFC-4DBE-8299-134911E3E555}" srcOrd="0" destOrd="0" presId="urn:microsoft.com/office/officeart/2005/8/layout/default"/>
    <dgm:cxn modelId="{F0F930D9-7398-404F-85A0-0899B1E494B0}" type="presOf" srcId="{2FE14970-8E9B-42C3-B6D7-E19FB96BF472}" destId="{4B9646DB-F704-4168-9501-BBDF96E226C9}" srcOrd="0" destOrd="0" presId="urn:microsoft.com/office/officeart/2005/8/layout/default"/>
    <dgm:cxn modelId="{A0ABF9DB-CE73-4358-A2F3-478E1D9FF313}" srcId="{D6492229-0BD6-42EB-AAEB-7D7001B13461}" destId="{8FAAB56E-9CCE-44FA-BA52-301DD022BD69}" srcOrd="2" destOrd="0" parTransId="{A0E0F800-5FAA-4EF0-BF26-8709ADB78B1D}" sibTransId="{49A798D6-89D0-4B86-AB2C-CA28C52B6490}"/>
    <dgm:cxn modelId="{FDBF27E5-3784-4F20-BACB-272BDD3E4BBE}" type="presOf" srcId="{48C7A23B-6620-45FE-BDBC-6FEA03C1F952}" destId="{9FD257DA-C086-4ADF-BC9E-5CC9D3E16A02}" srcOrd="0" destOrd="0" presId="urn:microsoft.com/office/officeart/2005/8/layout/default"/>
    <dgm:cxn modelId="{A6D059EC-F27B-43A4-9710-AC1E8B07D694}" srcId="{D6492229-0BD6-42EB-AAEB-7D7001B13461}" destId="{E40A722E-5A8C-4795-BC4F-06840FE8B1CB}" srcOrd="0" destOrd="0" parTransId="{8D542020-4787-4E05-8A7E-84F5CC2870B7}" sibTransId="{F0C71CEA-8EDD-4A97-B3EF-E9FC6792734C}"/>
    <dgm:cxn modelId="{299B0B1D-09A6-4470-BBBD-7596CB0C8558}" type="presParOf" srcId="{DA2F83E0-DD7D-4634-ACB8-1F4D9A8A6FA2}" destId="{46087FDB-7FFC-4DBE-8299-134911E3E555}" srcOrd="0" destOrd="0" presId="urn:microsoft.com/office/officeart/2005/8/layout/default"/>
    <dgm:cxn modelId="{3A7E51FE-70EE-4251-AEEF-E5C2C0574DDF}" type="presParOf" srcId="{DA2F83E0-DD7D-4634-ACB8-1F4D9A8A6FA2}" destId="{0D5ADA8F-A47D-42D2-B5D3-A5525420BC4D}" srcOrd="1" destOrd="0" presId="urn:microsoft.com/office/officeart/2005/8/layout/default"/>
    <dgm:cxn modelId="{DAB0FF18-C6C6-4B13-9C1F-D53275C980A6}" type="presParOf" srcId="{DA2F83E0-DD7D-4634-ACB8-1F4D9A8A6FA2}" destId="{78FAA294-35ED-4733-9143-2F537425C504}" srcOrd="2" destOrd="0" presId="urn:microsoft.com/office/officeart/2005/8/layout/default"/>
    <dgm:cxn modelId="{6EA21BF5-AEEF-4007-A0AF-B1F5E964AE3C}" type="presParOf" srcId="{DA2F83E0-DD7D-4634-ACB8-1F4D9A8A6FA2}" destId="{BA2F5045-A4A6-4698-B21E-CB512DC6A0F8}" srcOrd="3" destOrd="0" presId="urn:microsoft.com/office/officeart/2005/8/layout/default"/>
    <dgm:cxn modelId="{0B88E7CD-C442-4EE4-B12C-59452398956D}" type="presParOf" srcId="{DA2F83E0-DD7D-4634-ACB8-1F4D9A8A6FA2}" destId="{FB2D3D5B-59B9-435B-B2E0-3283A171F684}" srcOrd="4" destOrd="0" presId="urn:microsoft.com/office/officeart/2005/8/layout/default"/>
    <dgm:cxn modelId="{B0BB7079-50F8-4CA0-B981-F9CB100F9FD4}" type="presParOf" srcId="{DA2F83E0-DD7D-4634-ACB8-1F4D9A8A6FA2}" destId="{4C36FDEC-957D-4A07-A228-A7B9D973EE35}" srcOrd="5" destOrd="0" presId="urn:microsoft.com/office/officeart/2005/8/layout/default"/>
    <dgm:cxn modelId="{D1F10930-4F9E-4A1A-9C14-E3622B0BD104}" type="presParOf" srcId="{DA2F83E0-DD7D-4634-ACB8-1F4D9A8A6FA2}" destId="{715A3F11-8641-486C-844B-5C34F1D5BE72}" srcOrd="6" destOrd="0" presId="urn:microsoft.com/office/officeart/2005/8/layout/default"/>
    <dgm:cxn modelId="{2B78971B-E74C-48CE-BB57-6DFC6D65620A}" type="presParOf" srcId="{DA2F83E0-DD7D-4634-ACB8-1F4D9A8A6FA2}" destId="{140BE68B-F420-46F7-814C-50CED107ED99}" srcOrd="7" destOrd="0" presId="urn:microsoft.com/office/officeart/2005/8/layout/default"/>
    <dgm:cxn modelId="{16D4B975-B323-4AD9-B263-C07FB29F0277}" type="presParOf" srcId="{DA2F83E0-DD7D-4634-ACB8-1F4D9A8A6FA2}" destId="{9FD257DA-C086-4ADF-BC9E-5CC9D3E16A02}" srcOrd="8" destOrd="0" presId="urn:microsoft.com/office/officeart/2005/8/layout/default"/>
    <dgm:cxn modelId="{75858DA8-0075-4BD7-A107-1A6171480FC4}" type="presParOf" srcId="{DA2F83E0-DD7D-4634-ACB8-1F4D9A8A6FA2}" destId="{95A28CEC-0E9B-4877-80C9-7044DCEDF125}" srcOrd="9" destOrd="0" presId="urn:microsoft.com/office/officeart/2005/8/layout/default"/>
    <dgm:cxn modelId="{9D219033-CBCE-4E42-97D4-18377F0D325E}" type="presParOf" srcId="{DA2F83E0-DD7D-4634-ACB8-1F4D9A8A6FA2}" destId="{4B9646DB-F704-4168-9501-BBDF96E226C9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65F0F7A-7F13-4EDE-9A4B-160F516AC871}" type="doc">
      <dgm:prSet loTypeId="urn:microsoft.com/office/officeart/2016/7/layout/LinearArrowProcessNumbered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7FB46898-58B7-47E1-927D-DC9C8166994F}">
      <dgm:prSet custT="1"/>
      <dgm:spPr/>
      <dgm:t>
        <a:bodyPr/>
        <a:lstStyle/>
        <a:p>
          <a:pPr algn="ctr"/>
          <a:r>
            <a:rPr lang="el-GR" sz="1500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Απουσία κοινής μεθοδολογίας αξιολόγησης στο σύνολο των νοσοκομείων </a:t>
          </a:r>
          <a:endParaRPr lang="el-GR" sz="1500" b="1" dirty="0">
            <a:solidFill>
              <a:schemeClr val="accent1">
                <a:lumMod val="50000"/>
              </a:schemeClr>
            </a:solidFill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  <a:p>
          <a:pPr algn="ctr"/>
          <a:endParaRPr lang="en-US" sz="1500" dirty="0">
            <a:solidFill>
              <a:schemeClr val="accent1">
                <a:lumMod val="50000"/>
              </a:schemeClr>
            </a:solidFill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33E750AD-7593-49A1-8FC9-C2B51C5BAEAA}" type="parTrans" cxnId="{93C80DF1-4700-4D86-8762-87B0675BBD27}">
      <dgm:prSet/>
      <dgm:spPr/>
      <dgm:t>
        <a:bodyPr/>
        <a:lstStyle/>
        <a:p>
          <a:endParaRPr lang="en-US"/>
        </a:p>
      </dgm:t>
    </dgm:pt>
    <dgm:pt modelId="{A187E073-9FA0-4DA5-B7E9-9ABA6CA89E60}" type="sibTrans" cxnId="{93C80DF1-4700-4D86-8762-87B0675BBD27}">
      <dgm:prSet phldrT="2" phldr="0"/>
      <dgm:spPr/>
      <dgm:t>
        <a:bodyPr/>
        <a:lstStyle/>
        <a:p>
          <a:r>
            <a:rPr lang="en-US"/>
            <a:t>2</a:t>
          </a:r>
        </a:p>
      </dgm:t>
    </dgm:pt>
    <dgm:pt modelId="{13AE5E72-392A-4F2A-AC60-2EF2F94D3299}">
      <dgm:prSet custT="1"/>
      <dgm:spPr/>
      <dgm:t>
        <a:bodyPr/>
        <a:lstStyle/>
        <a:p>
          <a:pPr algn="ctr"/>
          <a:r>
            <a:rPr lang="el-GR" sz="1400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Αδυναμία δευτερογενούς επεξεργασίας των δεδομένων για τη λήψη διορθωτικών ενεργειών &amp; τη χάραξη πολιτικών</a:t>
          </a:r>
        </a:p>
        <a:p>
          <a:pPr algn="ctr"/>
          <a:endParaRPr lang="en-US" sz="1500" dirty="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474D6D42-0CF0-4735-A858-B9435E675E9F}" type="parTrans" cxnId="{CE3A66A3-8BEB-4703-9E83-EE9003E3D1E0}">
      <dgm:prSet/>
      <dgm:spPr/>
      <dgm:t>
        <a:bodyPr/>
        <a:lstStyle/>
        <a:p>
          <a:endParaRPr lang="en-US"/>
        </a:p>
      </dgm:t>
    </dgm:pt>
    <dgm:pt modelId="{026596DB-EFF7-44F6-AC95-144CD1AF8869}" type="sibTrans" cxnId="{CE3A66A3-8BEB-4703-9E83-EE9003E3D1E0}">
      <dgm:prSet phldrT="5" phldr="0"/>
      <dgm:spPr/>
      <dgm:t>
        <a:bodyPr/>
        <a:lstStyle/>
        <a:p>
          <a:r>
            <a:rPr lang="en-US"/>
            <a:t>5</a:t>
          </a:r>
          <a:endParaRPr lang="en-US" dirty="0"/>
        </a:p>
      </dgm:t>
    </dgm:pt>
    <dgm:pt modelId="{BE5433E1-E817-4CAD-81A1-B787BA7696FB}">
      <dgm:prSet custT="1"/>
      <dgm:spPr/>
      <dgm:t>
        <a:bodyPr/>
        <a:lstStyle/>
        <a:p>
          <a:pPr algn="ctr"/>
          <a:r>
            <a:rPr lang="el-GR" sz="1500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Μεμονωμένες, εσωτερικές έρευνες ικανοποίησης των ασθενών στα νοσοκομεία</a:t>
          </a:r>
          <a:endParaRPr lang="en-US" sz="1500" b="1" dirty="0">
            <a:solidFill>
              <a:schemeClr val="accent1">
                <a:lumMod val="50000"/>
              </a:schemeClr>
            </a:solidFill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5225A874-3B17-4AA1-B593-67666410E235}" type="sibTrans" cxnId="{0AA3AEDD-5DE2-4869-AF1E-8408C820E7A3}">
      <dgm:prSet phldrT="1" phldr="0"/>
      <dgm:spPr/>
      <dgm:t>
        <a:bodyPr/>
        <a:lstStyle/>
        <a:p>
          <a:r>
            <a:rPr lang="en-US"/>
            <a:t>1</a:t>
          </a:r>
        </a:p>
      </dgm:t>
    </dgm:pt>
    <dgm:pt modelId="{7F7FC3E4-C4E8-4471-A813-06A5E442B4C1}" type="parTrans" cxnId="{0AA3AEDD-5DE2-4869-AF1E-8408C820E7A3}">
      <dgm:prSet/>
      <dgm:spPr/>
      <dgm:t>
        <a:bodyPr/>
        <a:lstStyle/>
        <a:p>
          <a:endParaRPr lang="en-US"/>
        </a:p>
      </dgm:t>
    </dgm:pt>
    <dgm:pt modelId="{F4B6AB70-84A1-4E90-BE8E-1280910AA615}">
      <dgm:prSet custT="1"/>
      <dgm:spPr/>
      <dgm:t>
        <a:bodyPr/>
        <a:lstStyle/>
        <a:p>
          <a:pPr algn="ctr"/>
          <a:r>
            <a:rPr lang="el-GR" sz="1500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Ελλιπής ενημέρωση του ασθενή για τη δυνατότητα συμπλήρωσης ερωτηματολογίων</a:t>
          </a:r>
          <a:endParaRPr lang="el-GR" sz="1500" b="1" dirty="0">
            <a:solidFill>
              <a:schemeClr val="accent1">
                <a:lumMod val="50000"/>
              </a:schemeClr>
            </a:solidFill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  <a:p>
          <a:pPr algn="ctr"/>
          <a:endParaRPr lang="en-US" sz="1500" dirty="0">
            <a:solidFill>
              <a:schemeClr val="accent1">
                <a:lumMod val="50000"/>
              </a:schemeClr>
            </a:solidFill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C6183196-4996-4E36-9CE0-3C774F2C9D1D}" type="sibTrans" cxnId="{7367970B-4CD4-4048-88B0-C7D799AA588A}">
      <dgm:prSet phldrT="3" phldr="0"/>
      <dgm:spPr/>
      <dgm:t>
        <a:bodyPr/>
        <a:lstStyle/>
        <a:p>
          <a:r>
            <a:rPr lang="en-US"/>
            <a:t>3</a:t>
          </a:r>
        </a:p>
      </dgm:t>
    </dgm:pt>
    <dgm:pt modelId="{85CA1C0F-7215-4C19-A9F4-8FCE636562F8}" type="parTrans" cxnId="{7367970B-4CD4-4048-88B0-C7D799AA588A}">
      <dgm:prSet/>
      <dgm:spPr/>
      <dgm:t>
        <a:bodyPr/>
        <a:lstStyle/>
        <a:p>
          <a:endParaRPr lang="en-US"/>
        </a:p>
      </dgm:t>
    </dgm:pt>
    <dgm:pt modelId="{46993AF1-6F82-4F39-A0D5-B06914F7065B}">
      <dgm:prSet custT="1"/>
      <dgm:spPr/>
      <dgm:t>
        <a:bodyPr/>
        <a:lstStyle/>
        <a:p>
          <a:pPr algn="ctr"/>
          <a:r>
            <a:rPr lang="el-GR" sz="1500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Πληροφορία αποσπασματική                   &amp; </a:t>
          </a:r>
        </a:p>
        <a:p>
          <a:pPr algn="ctr"/>
          <a:r>
            <a:rPr lang="el-GR" sz="1500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κατακερματισμένη </a:t>
          </a:r>
          <a:endParaRPr lang="en-US" sz="1500" b="1" dirty="0">
            <a:solidFill>
              <a:schemeClr val="accent1">
                <a:lumMod val="50000"/>
              </a:schemeClr>
            </a:solidFill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gm:t>
    </dgm:pt>
    <dgm:pt modelId="{7DCC5B8D-0FFB-4892-992E-6161AEACA39B}" type="sibTrans" cxnId="{29304D37-A644-4828-9F1C-AD83AAA7C605}">
      <dgm:prSet phldrT="4" phldr="0"/>
      <dgm:spPr/>
      <dgm:t>
        <a:bodyPr/>
        <a:lstStyle/>
        <a:p>
          <a:r>
            <a:rPr lang="en-US"/>
            <a:t>4</a:t>
          </a:r>
        </a:p>
      </dgm:t>
    </dgm:pt>
    <dgm:pt modelId="{72281BD3-0F8B-4B8B-92E3-D108107D0E39}" type="parTrans" cxnId="{29304D37-A644-4828-9F1C-AD83AAA7C605}">
      <dgm:prSet/>
      <dgm:spPr/>
      <dgm:t>
        <a:bodyPr/>
        <a:lstStyle/>
        <a:p>
          <a:endParaRPr lang="en-US"/>
        </a:p>
      </dgm:t>
    </dgm:pt>
    <dgm:pt modelId="{DD9F43D4-799C-4978-A579-6BA4F2CC64D8}" type="pres">
      <dgm:prSet presAssocID="{465F0F7A-7F13-4EDE-9A4B-160F516AC871}" presName="linearFlow" presStyleCnt="0">
        <dgm:presLayoutVars>
          <dgm:dir/>
          <dgm:animLvl val="lvl"/>
          <dgm:resizeHandles val="exact"/>
        </dgm:presLayoutVars>
      </dgm:prSet>
      <dgm:spPr/>
    </dgm:pt>
    <dgm:pt modelId="{1A279A65-8E62-4A5E-82D1-9BDAC98DB08E}" type="pres">
      <dgm:prSet presAssocID="{BE5433E1-E817-4CAD-81A1-B787BA7696FB}" presName="compositeNode" presStyleCnt="0"/>
      <dgm:spPr/>
    </dgm:pt>
    <dgm:pt modelId="{44B3DA27-E207-40F0-8FC1-6C192977DEA6}" type="pres">
      <dgm:prSet presAssocID="{BE5433E1-E817-4CAD-81A1-B787BA7696FB}" presName="parTx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77F41E25-448C-480A-90C5-4C6DCB5F02FB}" type="pres">
      <dgm:prSet presAssocID="{BE5433E1-E817-4CAD-81A1-B787BA7696FB}" presName="parSh" presStyleCnt="0"/>
      <dgm:spPr/>
    </dgm:pt>
    <dgm:pt modelId="{39859323-EB12-42CC-870D-EEB3CF20FFE2}" type="pres">
      <dgm:prSet presAssocID="{BE5433E1-E817-4CAD-81A1-B787BA7696FB}" presName="lineNode" presStyleLbl="alignAccFollowNode1" presStyleIdx="0" presStyleCnt="15"/>
      <dgm:spPr/>
    </dgm:pt>
    <dgm:pt modelId="{EF47F7F5-FFC0-4B91-AE31-01082BA0E1AB}" type="pres">
      <dgm:prSet presAssocID="{BE5433E1-E817-4CAD-81A1-B787BA7696FB}" presName="lineArrowNode" presStyleLbl="alignAccFollowNode1" presStyleIdx="1" presStyleCnt="15"/>
      <dgm:spPr/>
    </dgm:pt>
    <dgm:pt modelId="{CD15AF3E-C8A1-4989-A75E-561777299E16}" type="pres">
      <dgm:prSet presAssocID="{5225A874-3B17-4AA1-B593-67666410E235}" presName="sibTransNodeCircle" presStyleLbl="alignNode1" presStyleIdx="0" presStyleCnt="5">
        <dgm:presLayoutVars>
          <dgm:chMax val="0"/>
          <dgm:bulletEnabled/>
        </dgm:presLayoutVars>
      </dgm:prSet>
      <dgm:spPr/>
    </dgm:pt>
    <dgm:pt modelId="{0DD39D3C-9895-444C-BEC2-CB04472D5AD0}" type="pres">
      <dgm:prSet presAssocID="{5225A874-3B17-4AA1-B593-67666410E235}" presName="spacerBetweenCircleAndCallout" presStyleCnt="0">
        <dgm:presLayoutVars/>
      </dgm:prSet>
      <dgm:spPr/>
    </dgm:pt>
    <dgm:pt modelId="{E913DF78-EC95-4A99-8A5F-3E4108010C5D}" type="pres">
      <dgm:prSet presAssocID="{BE5433E1-E817-4CAD-81A1-B787BA7696FB}" presName="nodeText" presStyleLbl="alignAccFollowNode1" presStyleIdx="2" presStyleCnt="15">
        <dgm:presLayoutVars>
          <dgm:bulletEnabled val="1"/>
        </dgm:presLayoutVars>
      </dgm:prSet>
      <dgm:spPr/>
    </dgm:pt>
    <dgm:pt modelId="{A5F045BF-C9D6-479E-9150-D9AFAABC8F7C}" type="pres">
      <dgm:prSet presAssocID="{5225A874-3B17-4AA1-B593-67666410E235}" presName="sibTransComposite" presStyleCnt="0"/>
      <dgm:spPr/>
    </dgm:pt>
    <dgm:pt modelId="{EDC8FA3F-69A5-404B-AF98-01A77FDF640D}" type="pres">
      <dgm:prSet presAssocID="{7FB46898-58B7-47E1-927D-DC9C8166994F}" presName="compositeNode" presStyleCnt="0"/>
      <dgm:spPr/>
    </dgm:pt>
    <dgm:pt modelId="{059C564D-F84F-484A-A711-33048DEDED5D}" type="pres">
      <dgm:prSet presAssocID="{7FB46898-58B7-47E1-927D-DC9C8166994F}" presName="parTx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31A9F0BD-1C65-4A62-9FFE-021A69DFDA4E}" type="pres">
      <dgm:prSet presAssocID="{7FB46898-58B7-47E1-927D-DC9C8166994F}" presName="parSh" presStyleCnt="0"/>
      <dgm:spPr/>
    </dgm:pt>
    <dgm:pt modelId="{EABF6629-97FC-4A31-B27F-7B39CBC82C0F}" type="pres">
      <dgm:prSet presAssocID="{7FB46898-58B7-47E1-927D-DC9C8166994F}" presName="lineNode" presStyleLbl="alignAccFollowNode1" presStyleIdx="3" presStyleCnt="15"/>
      <dgm:spPr/>
    </dgm:pt>
    <dgm:pt modelId="{68DE9517-7763-4E7C-B75D-4B69D58E08AD}" type="pres">
      <dgm:prSet presAssocID="{7FB46898-58B7-47E1-927D-DC9C8166994F}" presName="lineArrowNode" presStyleLbl="alignAccFollowNode1" presStyleIdx="4" presStyleCnt="15"/>
      <dgm:spPr/>
    </dgm:pt>
    <dgm:pt modelId="{81DBF530-3A8A-4DA1-B8D2-750CA490AE9A}" type="pres">
      <dgm:prSet presAssocID="{A187E073-9FA0-4DA5-B7E9-9ABA6CA89E60}" presName="sibTransNodeCircle" presStyleLbl="alignNode1" presStyleIdx="1" presStyleCnt="5">
        <dgm:presLayoutVars>
          <dgm:chMax val="0"/>
          <dgm:bulletEnabled/>
        </dgm:presLayoutVars>
      </dgm:prSet>
      <dgm:spPr/>
    </dgm:pt>
    <dgm:pt modelId="{6054471B-7869-4DB3-B08D-5D65D50F7DEC}" type="pres">
      <dgm:prSet presAssocID="{A187E073-9FA0-4DA5-B7E9-9ABA6CA89E60}" presName="spacerBetweenCircleAndCallout" presStyleCnt="0">
        <dgm:presLayoutVars/>
      </dgm:prSet>
      <dgm:spPr/>
    </dgm:pt>
    <dgm:pt modelId="{DF430E97-4D1B-4549-981F-4F94CE07EFDD}" type="pres">
      <dgm:prSet presAssocID="{7FB46898-58B7-47E1-927D-DC9C8166994F}" presName="nodeText" presStyleLbl="alignAccFollowNode1" presStyleIdx="5" presStyleCnt="15">
        <dgm:presLayoutVars>
          <dgm:bulletEnabled val="1"/>
        </dgm:presLayoutVars>
      </dgm:prSet>
      <dgm:spPr/>
    </dgm:pt>
    <dgm:pt modelId="{47D3332F-FADF-4FF8-99CF-216F84EBAB31}" type="pres">
      <dgm:prSet presAssocID="{A187E073-9FA0-4DA5-B7E9-9ABA6CA89E60}" presName="sibTransComposite" presStyleCnt="0"/>
      <dgm:spPr/>
    </dgm:pt>
    <dgm:pt modelId="{1054B5B8-4A4B-4504-BABF-21F6BDBD9235}" type="pres">
      <dgm:prSet presAssocID="{F4B6AB70-84A1-4E90-BE8E-1280910AA615}" presName="compositeNode" presStyleCnt="0"/>
      <dgm:spPr/>
    </dgm:pt>
    <dgm:pt modelId="{80C3C9DC-65C3-4DC5-94E8-C63A1955DDB7}" type="pres">
      <dgm:prSet presAssocID="{F4B6AB70-84A1-4E90-BE8E-1280910AA615}" presName="parTx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A36BE480-83B9-4F05-B48D-5E966CF03FFF}" type="pres">
      <dgm:prSet presAssocID="{F4B6AB70-84A1-4E90-BE8E-1280910AA615}" presName="parSh" presStyleCnt="0"/>
      <dgm:spPr/>
    </dgm:pt>
    <dgm:pt modelId="{D625E94D-A31E-46E8-8F5E-9639F5271A06}" type="pres">
      <dgm:prSet presAssocID="{F4B6AB70-84A1-4E90-BE8E-1280910AA615}" presName="lineNode" presStyleLbl="alignAccFollowNode1" presStyleIdx="6" presStyleCnt="15"/>
      <dgm:spPr/>
    </dgm:pt>
    <dgm:pt modelId="{BF887395-C852-4D93-8908-B3F8F623B1A7}" type="pres">
      <dgm:prSet presAssocID="{F4B6AB70-84A1-4E90-BE8E-1280910AA615}" presName="lineArrowNode" presStyleLbl="alignAccFollowNode1" presStyleIdx="7" presStyleCnt="15"/>
      <dgm:spPr/>
    </dgm:pt>
    <dgm:pt modelId="{3599E24B-8DE5-4429-A7F3-5D2B363B935C}" type="pres">
      <dgm:prSet presAssocID="{C6183196-4996-4E36-9CE0-3C774F2C9D1D}" presName="sibTransNodeCircle" presStyleLbl="alignNode1" presStyleIdx="2" presStyleCnt="5">
        <dgm:presLayoutVars>
          <dgm:chMax val="0"/>
          <dgm:bulletEnabled/>
        </dgm:presLayoutVars>
      </dgm:prSet>
      <dgm:spPr/>
    </dgm:pt>
    <dgm:pt modelId="{E959D5D8-4E33-4780-B10B-BC585C946E52}" type="pres">
      <dgm:prSet presAssocID="{C6183196-4996-4E36-9CE0-3C774F2C9D1D}" presName="spacerBetweenCircleAndCallout" presStyleCnt="0">
        <dgm:presLayoutVars/>
      </dgm:prSet>
      <dgm:spPr/>
    </dgm:pt>
    <dgm:pt modelId="{4B1E824A-C818-421A-B56A-0FA2C9353217}" type="pres">
      <dgm:prSet presAssocID="{F4B6AB70-84A1-4E90-BE8E-1280910AA615}" presName="nodeText" presStyleLbl="alignAccFollowNode1" presStyleIdx="8" presStyleCnt="15">
        <dgm:presLayoutVars>
          <dgm:bulletEnabled val="1"/>
        </dgm:presLayoutVars>
      </dgm:prSet>
      <dgm:spPr/>
    </dgm:pt>
    <dgm:pt modelId="{426A574D-ABE8-4ED6-99F6-07DF33EF1D29}" type="pres">
      <dgm:prSet presAssocID="{C6183196-4996-4E36-9CE0-3C774F2C9D1D}" presName="sibTransComposite" presStyleCnt="0"/>
      <dgm:spPr/>
    </dgm:pt>
    <dgm:pt modelId="{B7CD092F-900E-4BE4-82C8-8827B4AE4781}" type="pres">
      <dgm:prSet presAssocID="{46993AF1-6F82-4F39-A0D5-B06914F7065B}" presName="compositeNode" presStyleCnt="0"/>
      <dgm:spPr/>
    </dgm:pt>
    <dgm:pt modelId="{92617C07-B7F0-4AFD-BD12-176725D397B5}" type="pres">
      <dgm:prSet presAssocID="{46993AF1-6F82-4F39-A0D5-B06914F7065B}" presName="parTx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DC63B202-3435-4180-BD39-626065AE6C63}" type="pres">
      <dgm:prSet presAssocID="{46993AF1-6F82-4F39-A0D5-B06914F7065B}" presName="parSh" presStyleCnt="0"/>
      <dgm:spPr/>
    </dgm:pt>
    <dgm:pt modelId="{DF39DCCA-A556-44C3-8188-92EB9A7F9001}" type="pres">
      <dgm:prSet presAssocID="{46993AF1-6F82-4F39-A0D5-B06914F7065B}" presName="lineNode" presStyleLbl="alignAccFollowNode1" presStyleIdx="9" presStyleCnt="15"/>
      <dgm:spPr/>
    </dgm:pt>
    <dgm:pt modelId="{D448F9A5-E542-4A53-BE96-9AE6B3A7F351}" type="pres">
      <dgm:prSet presAssocID="{46993AF1-6F82-4F39-A0D5-B06914F7065B}" presName="lineArrowNode" presStyleLbl="alignAccFollowNode1" presStyleIdx="10" presStyleCnt="15"/>
      <dgm:spPr/>
    </dgm:pt>
    <dgm:pt modelId="{32048B18-659D-43F2-B40E-B459A72B54B4}" type="pres">
      <dgm:prSet presAssocID="{7DCC5B8D-0FFB-4892-992E-6161AEACA39B}" presName="sibTransNodeCircle" presStyleLbl="alignNode1" presStyleIdx="3" presStyleCnt="5">
        <dgm:presLayoutVars>
          <dgm:chMax val="0"/>
          <dgm:bulletEnabled/>
        </dgm:presLayoutVars>
      </dgm:prSet>
      <dgm:spPr/>
    </dgm:pt>
    <dgm:pt modelId="{FA18BC7C-F13C-4337-8C08-7614F5015AB1}" type="pres">
      <dgm:prSet presAssocID="{7DCC5B8D-0FFB-4892-992E-6161AEACA39B}" presName="spacerBetweenCircleAndCallout" presStyleCnt="0">
        <dgm:presLayoutVars/>
      </dgm:prSet>
      <dgm:spPr/>
    </dgm:pt>
    <dgm:pt modelId="{491E39CA-4A0B-465E-945E-73A4DDDE79B2}" type="pres">
      <dgm:prSet presAssocID="{46993AF1-6F82-4F39-A0D5-B06914F7065B}" presName="nodeText" presStyleLbl="alignAccFollowNode1" presStyleIdx="11" presStyleCnt="15">
        <dgm:presLayoutVars>
          <dgm:bulletEnabled val="1"/>
        </dgm:presLayoutVars>
      </dgm:prSet>
      <dgm:spPr/>
    </dgm:pt>
    <dgm:pt modelId="{74D37303-E7EF-4F37-86F1-7E9F1FDC1F0B}" type="pres">
      <dgm:prSet presAssocID="{7DCC5B8D-0FFB-4892-992E-6161AEACA39B}" presName="sibTransComposite" presStyleCnt="0"/>
      <dgm:spPr/>
    </dgm:pt>
    <dgm:pt modelId="{112BF416-7696-4094-B9A9-4B1E2E73F69C}" type="pres">
      <dgm:prSet presAssocID="{13AE5E72-392A-4F2A-AC60-2EF2F94D3299}" presName="compositeNode" presStyleCnt="0"/>
      <dgm:spPr/>
    </dgm:pt>
    <dgm:pt modelId="{8DAC0E9A-359F-4DD5-941D-5C1F9FED5ECF}" type="pres">
      <dgm:prSet presAssocID="{13AE5E72-392A-4F2A-AC60-2EF2F94D3299}" presName="parTx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F8E8A9A9-2924-40FF-86EA-6CD9C2DCBA87}" type="pres">
      <dgm:prSet presAssocID="{13AE5E72-392A-4F2A-AC60-2EF2F94D3299}" presName="parSh" presStyleCnt="0"/>
      <dgm:spPr/>
    </dgm:pt>
    <dgm:pt modelId="{65C212A8-9DA0-498E-AA7B-C17EC7072D7E}" type="pres">
      <dgm:prSet presAssocID="{13AE5E72-392A-4F2A-AC60-2EF2F94D3299}" presName="lineNode" presStyleLbl="alignAccFollowNode1" presStyleIdx="12" presStyleCnt="15"/>
      <dgm:spPr/>
    </dgm:pt>
    <dgm:pt modelId="{74CF2877-1E5D-416B-BCE3-762A0B5C5E65}" type="pres">
      <dgm:prSet presAssocID="{13AE5E72-392A-4F2A-AC60-2EF2F94D3299}" presName="lineArrowNode" presStyleLbl="alignAccFollowNode1" presStyleIdx="13" presStyleCnt="15"/>
      <dgm:spPr/>
    </dgm:pt>
    <dgm:pt modelId="{6FDB34BD-72DE-476B-B9FB-B654FBD76AEA}" type="pres">
      <dgm:prSet presAssocID="{026596DB-EFF7-44F6-AC95-144CD1AF8869}" presName="sibTransNodeCircle" presStyleLbl="alignNode1" presStyleIdx="4" presStyleCnt="5">
        <dgm:presLayoutVars>
          <dgm:chMax val="0"/>
          <dgm:bulletEnabled/>
        </dgm:presLayoutVars>
      </dgm:prSet>
      <dgm:spPr/>
    </dgm:pt>
    <dgm:pt modelId="{B888A41B-0B1A-4DAC-BF59-94D8D7B0FF36}" type="pres">
      <dgm:prSet presAssocID="{026596DB-EFF7-44F6-AC95-144CD1AF8869}" presName="spacerBetweenCircleAndCallout" presStyleCnt="0">
        <dgm:presLayoutVars/>
      </dgm:prSet>
      <dgm:spPr/>
    </dgm:pt>
    <dgm:pt modelId="{68D66840-FDE1-46D0-AC00-39AC3A590551}" type="pres">
      <dgm:prSet presAssocID="{13AE5E72-392A-4F2A-AC60-2EF2F94D3299}" presName="nodeText" presStyleLbl="alignAccFollowNode1" presStyleIdx="14" presStyleCnt="15" custScaleX="100081" custScaleY="100000">
        <dgm:presLayoutVars>
          <dgm:bulletEnabled val="1"/>
        </dgm:presLayoutVars>
      </dgm:prSet>
      <dgm:spPr/>
    </dgm:pt>
  </dgm:ptLst>
  <dgm:cxnLst>
    <dgm:cxn modelId="{7367970B-4CD4-4048-88B0-C7D799AA588A}" srcId="{465F0F7A-7F13-4EDE-9A4B-160F516AC871}" destId="{F4B6AB70-84A1-4E90-BE8E-1280910AA615}" srcOrd="2" destOrd="0" parTransId="{85CA1C0F-7215-4C19-A9F4-8FCE636562F8}" sibTransId="{C6183196-4996-4E36-9CE0-3C774F2C9D1D}"/>
    <dgm:cxn modelId="{7E3B272C-9E2D-424F-A7E7-A65E2EB0B1D3}" type="presOf" srcId="{465F0F7A-7F13-4EDE-9A4B-160F516AC871}" destId="{DD9F43D4-799C-4978-A579-6BA4F2CC64D8}" srcOrd="0" destOrd="0" presId="urn:microsoft.com/office/officeart/2016/7/layout/LinearArrowProcessNumbered"/>
    <dgm:cxn modelId="{29304D37-A644-4828-9F1C-AD83AAA7C605}" srcId="{465F0F7A-7F13-4EDE-9A4B-160F516AC871}" destId="{46993AF1-6F82-4F39-A0D5-B06914F7065B}" srcOrd="3" destOrd="0" parTransId="{72281BD3-0F8B-4B8B-92E3-D108107D0E39}" sibTransId="{7DCC5B8D-0FFB-4892-992E-6161AEACA39B}"/>
    <dgm:cxn modelId="{BB0CC545-B0D3-4F06-8008-3732D7AB83D4}" type="presOf" srcId="{026596DB-EFF7-44F6-AC95-144CD1AF8869}" destId="{6FDB34BD-72DE-476B-B9FB-B654FBD76AEA}" srcOrd="0" destOrd="0" presId="urn:microsoft.com/office/officeart/2016/7/layout/LinearArrowProcessNumbered"/>
    <dgm:cxn modelId="{D6E7D26F-D7B2-4CAC-A040-760F86DFD002}" type="presOf" srcId="{7FB46898-58B7-47E1-927D-DC9C8166994F}" destId="{DF430E97-4D1B-4549-981F-4F94CE07EFDD}" srcOrd="0" destOrd="0" presId="urn:microsoft.com/office/officeart/2016/7/layout/LinearArrowProcessNumbered"/>
    <dgm:cxn modelId="{8B27BE56-FBD7-42AC-AAB2-15CC024C498D}" type="presOf" srcId="{46993AF1-6F82-4F39-A0D5-B06914F7065B}" destId="{491E39CA-4A0B-465E-945E-73A4DDDE79B2}" srcOrd="0" destOrd="0" presId="urn:microsoft.com/office/officeart/2016/7/layout/LinearArrowProcessNumbered"/>
    <dgm:cxn modelId="{2B993389-48DF-4B8F-9F2B-1C888C9F9C1F}" type="presOf" srcId="{13AE5E72-392A-4F2A-AC60-2EF2F94D3299}" destId="{68D66840-FDE1-46D0-AC00-39AC3A590551}" srcOrd="0" destOrd="0" presId="urn:microsoft.com/office/officeart/2016/7/layout/LinearArrowProcessNumbered"/>
    <dgm:cxn modelId="{B2E15194-8F61-4718-9E47-86D19A10D768}" type="presOf" srcId="{C6183196-4996-4E36-9CE0-3C774F2C9D1D}" destId="{3599E24B-8DE5-4429-A7F3-5D2B363B935C}" srcOrd="0" destOrd="0" presId="urn:microsoft.com/office/officeart/2016/7/layout/LinearArrowProcessNumbered"/>
    <dgm:cxn modelId="{CE3A66A3-8BEB-4703-9E83-EE9003E3D1E0}" srcId="{465F0F7A-7F13-4EDE-9A4B-160F516AC871}" destId="{13AE5E72-392A-4F2A-AC60-2EF2F94D3299}" srcOrd="4" destOrd="0" parTransId="{474D6D42-0CF0-4735-A858-B9435E675E9F}" sibTransId="{026596DB-EFF7-44F6-AC95-144CD1AF8869}"/>
    <dgm:cxn modelId="{1E0A5EA4-ABFC-43BE-AF11-289E401309DD}" type="presOf" srcId="{7DCC5B8D-0FFB-4892-992E-6161AEACA39B}" destId="{32048B18-659D-43F2-B40E-B459A72B54B4}" srcOrd="0" destOrd="0" presId="urn:microsoft.com/office/officeart/2016/7/layout/LinearArrowProcessNumbered"/>
    <dgm:cxn modelId="{10AF57B4-562A-420D-8680-8814549DEED6}" type="presOf" srcId="{F4B6AB70-84A1-4E90-BE8E-1280910AA615}" destId="{4B1E824A-C818-421A-B56A-0FA2C9353217}" srcOrd="0" destOrd="0" presId="urn:microsoft.com/office/officeart/2016/7/layout/LinearArrowProcessNumbered"/>
    <dgm:cxn modelId="{488A1CC4-009B-4F74-AA6B-4C71302E5261}" type="presOf" srcId="{5225A874-3B17-4AA1-B593-67666410E235}" destId="{CD15AF3E-C8A1-4989-A75E-561777299E16}" srcOrd="0" destOrd="0" presId="urn:microsoft.com/office/officeart/2016/7/layout/LinearArrowProcessNumbered"/>
    <dgm:cxn modelId="{51BF52C7-D85D-409C-A30A-95F5C49E5ED6}" type="presOf" srcId="{BE5433E1-E817-4CAD-81A1-B787BA7696FB}" destId="{E913DF78-EC95-4A99-8A5F-3E4108010C5D}" srcOrd="0" destOrd="0" presId="urn:microsoft.com/office/officeart/2016/7/layout/LinearArrowProcessNumbered"/>
    <dgm:cxn modelId="{9A22D5D8-BD6A-4545-B95C-3FBCC1E942A0}" type="presOf" srcId="{A187E073-9FA0-4DA5-B7E9-9ABA6CA89E60}" destId="{81DBF530-3A8A-4DA1-B8D2-750CA490AE9A}" srcOrd="0" destOrd="0" presId="urn:microsoft.com/office/officeart/2016/7/layout/LinearArrowProcessNumbered"/>
    <dgm:cxn modelId="{0AA3AEDD-5DE2-4869-AF1E-8408C820E7A3}" srcId="{465F0F7A-7F13-4EDE-9A4B-160F516AC871}" destId="{BE5433E1-E817-4CAD-81A1-B787BA7696FB}" srcOrd="0" destOrd="0" parTransId="{7F7FC3E4-C4E8-4471-A813-06A5E442B4C1}" sibTransId="{5225A874-3B17-4AA1-B593-67666410E235}"/>
    <dgm:cxn modelId="{93C80DF1-4700-4D86-8762-87B0675BBD27}" srcId="{465F0F7A-7F13-4EDE-9A4B-160F516AC871}" destId="{7FB46898-58B7-47E1-927D-DC9C8166994F}" srcOrd="1" destOrd="0" parTransId="{33E750AD-7593-49A1-8FC9-C2B51C5BAEAA}" sibTransId="{A187E073-9FA0-4DA5-B7E9-9ABA6CA89E60}"/>
    <dgm:cxn modelId="{6E4CD39B-EEDE-4E06-BEA6-431B9F6B1DD3}" type="presParOf" srcId="{DD9F43D4-799C-4978-A579-6BA4F2CC64D8}" destId="{1A279A65-8E62-4A5E-82D1-9BDAC98DB08E}" srcOrd="0" destOrd="0" presId="urn:microsoft.com/office/officeart/2016/7/layout/LinearArrowProcessNumbered"/>
    <dgm:cxn modelId="{F9C9CD2D-0B88-4F2A-AD07-C0E05466149B}" type="presParOf" srcId="{1A279A65-8E62-4A5E-82D1-9BDAC98DB08E}" destId="{44B3DA27-E207-40F0-8FC1-6C192977DEA6}" srcOrd="0" destOrd="0" presId="urn:microsoft.com/office/officeart/2016/7/layout/LinearArrowProcessNumbered"/>
    <dgm:cxn modelId="{71C5B92C-FF13-4D23-B2A4-04813EA974B9}" type="presParOf" srcId="{1A279A65-8E62-4A5E-82D1-9BDAC98DB08E}" destId="{77F41E25-448C-480A-90C5-4C6DCB5F02FB}" srcOrd="1" destOrd="0" presId="urn:microsoft.com/office/officeart/2016/7/layout/LinearArrowProcessNumbered"/>
    <dgm:cxn modelId="{2636FDA3-A032-4E15-8DAC-6D120946477D}" type="presParOf" srcId="{77F41E25-448C-480A-90C5-4C6DCB5F02FB}" destId="{39859323-EB12-42CC-870D-EEB3CF20FFE2}" srcOrd="0" destOrd="0" presId="urn:microsoft.com/office/officeart/2016/7/layout/LinearArrowProcessNumbered"/>
    <dgm:cxn modelId="{C5CFD21B-F769-4636-8E38-C32D97561AFB}" type="presParOf" srcId="{77F41E25-448C-480A-90C5-4C6DCB5F02FB}" destId="{EF47F7F5-FFC0-4B91-AE31-01082BA0E1AB}" srcOrd="1" destOrd="0" presId="urn:microsoft.com/office/officeart/2016/7/layout/LinearArrowProcessNumbered"/>
    <dgm:cxn modelId="{26EFF419-4CF8-421B-92E0-D7EE3AAD4232}" type="presParOf" srcId="{77F41E25-448C-480A-90C5-4C6DCB5F02FB}" destId="{CD15AF3E-C8A1-4989-A75E-561777299E16}" srcOrd="2" destOrd="0" presId="urn:microsoft.com/office/officeart/2016/7/layout/LinearArrowProcessNumbered"/>
    <dgm:cxn modelId="{98793B1E-7D9B-4C79-8E6F-38DCE4BC64E6}" type="presParOf" srcId="{77F41E25-448C-480A-90C5-4C6DCB5F02FB}" destId="{0DD39D3C-9895-444C-BEC2-CB04472D5AD0}" srcOrd="3" destOrd="0" presId="urn:microsoft.com/office/officeart/2016/7/layout/LinearArrowProcessNumbered"/>
    <dgm:cxn modelId="{7162C255-7B99-4363-9279-3C388DE13A76}" type="presParOf" srcId="{1A279A65-8E62-4A5E-82D1-9BDAC98DB08E}" destId="{E913DF78-EC95-4A99-8A5F-3E4108010C5D}" srcOrd="2" destOrd="0" presId="urn:microsoft.com/office/officeart/2016/7/layout/LinearArrowProcessNumbered"/>
    <dgm:cxn modelId="{F30BB24E-58B0-4C71-B56F-6EC6C001A249}" type="presParOf" srcId="{DD9F43D4-799C-4978-A579-6BA4F2CC64D8}" destId="{A5F045BF-C9D6-479E-9150-D9AFAABC8F7C}" srcOrd="1" destOrd="0" presId="urn:microsoft.com/office/officeart/2016/7/layout/LinearArrowProcessNumbered"/>
    <dgm:cxn modelId="{5824650E-CEA3-45B4-A539-4BE029102975}" type="presParOf" srcId="{DD9F43D4-799C-4978-A579-6BA4F2CC64D8}" destId="{EDC8FA3F-69A5-404B-AF98-01A77FDF640D}" srcOrd="2" destOrd="0" presId="urn:microsoft.com/office/officeart/2016/7/layout/LinearArrowProcessNumbered"/>
    <dgm:cxn modelId="{5F51FC7C-44E8-4FDF-A77A-C6E5995DC3C1}" type="presParOf" srcId="{EDC8FA3F-69A5-404B-AF98-01A77FDF640D}" destId="{059C564D-F84F-484A-A711-33048DEDED5D}" srcOrd="0" destOrd="0" presId="urn:microsoft.com/office/officeart/2016/7/layout/LinearArrowProcessNumbered"/>
    <dgm:cxn modelId="{ED61E07F-D578-4E7D-8B24-AA9BF3CE2D0B}" type="presParOf" srcId="{EDC8FA3F-69A5-404B-AF98-01A77FDF640D}" destId="{31A9F0BD-1C65-4A62-9FFE-021A69DFDA4E}" srcOrd="1" destOrd="0" presId="urn:microsoft.com/office/officeart/2016/7/layout/LinearArrowProcessNumbered"/>
    <dgm:cxn modelId="{55D7E970-DE98-4631-9169-DC8CED2C68F1}" type="presParOf" srcId="{31A9F0BD-1C65-4A62-9FFE-021A69DFDA4E}" destId="{EABF6629-97FC-4A31-B27F-7B39CBC82C0F}" srcOrd="0" destOrd="0" presId="urn:microsoft.com/office/officeart/2016/7/layout/LinearArrowProcessNumbered"/>
    <dgm:cxn modelId="{F42C3A5D-A9F6-4547-8D74-2185FC687643}" type="presParOf" srcId="{31A9F0BD-1C65-4A62-9FFE-021A69DFDA4E}" destId="{68DE9517-7763-4E7C-B75D-4B69D58E08AD}" srcOrd="1" destOrd="0" presId="urn:microsoft.com/office/officeart/2016/7/layout/LinearArrowProcessNumbered"/>
    <dgm:cxn modelId="{9B0AC9D2-3877-4A4D-9ADE-566BA4136446}" type="presParOf" srcId="{31A9F0BD-1C65-4A62-9FFE-021A69DFDA4E}" destId="{81DBF530-3A8A-4DA1-B8D2-750CA490AE9A}" srcOrd="2" destOrd="0" presId="urn:microsoft.com/office/officeart/2016/7/layout/LinearArrowProcessNumbered"/>
    <dgm:cxn modelId="{19A1CB23-EC7F-4EF8-91F7-69D9CCCBE090}" type="presParOf" srcId="{31A9F0BD-1C65-4A62-9FFE-021A69DFDA4E}" destId="{6054471B-7869-4DB3-B08D-5D65D50F7DEC}" srcOrd="3" destOrd="0" presId="urn:microsoft.com/office/officeart/2016/7/layout/LinearArrowProcessNumbered"/>
    <dgm:cxn modelId="{EE2CCDFC-08CA-4DA4-8046-B67DE8CDAEE0}" type="presParOf" srcId="{EDC8FA3F-69A5-404B-AF98-01A77FDF640D}" destId="{DF430E97-4D1B-4549-981F-4F94CE07EFDD}" srcOrd="2" destOrd="0" presId="urn:microsoft.com/office/officeart/2016/7/layout/LinearArrowProcessNumbered"/>
    <dgm:cxn modelId="{C9FA24E9-A900-44F9-A6E8-43355F7C4ECB}" type="presParOf" srcId="{DD9F43D4-799C-4978-A579-6BA4F2CC64D8}" destId="{47D3332F-FADF-4FF8-99CF-216F84EBAB31}" srcOrd="3" destOrd="0" presId="urn:microsoft.com/office/officeart/2016/7/layout/LinearArrowProcessNumbered"/>
    <dgm:cxn modelId="{D8E02CA4-12FB-4DC1-A6A3-192793029D8E}" type="presParOf" srcId="{DD9F43D4-799C-4978-A579-6BA4F2CC64D8}" destId="{1054B5B8-4A4B-4504-BABF-21F6BDBD9235}" srcOrd="4" destOrd="0" presId="urn:microsoft.com/office/officeart/2016/7/layout/LinearArrowProcessNumbered"/>
    <dgm:cxn modelId="{B1FE8661-E450-47FF-8B0E-EF555B841A75}" type="presParOf" srcId="{1054B5B8-4A4B-4504-BABF-21F6BDBD9235}" destId="{80C3C9DC-65C3-4DC5-94E8-C63A1955DDB7}" srcOrd="0" destOrd="0" presId="urn:microsoft.com/office/officeart/2016/7/layout/LinearArrowProcessNumbered"/>
    <dgm:cxn modelId="{F6D1193C-C95C-4597-801B-F94EBA4E64D2}" type="presParOf" srcId="{1054B5B8-4A4B-4504-BABF-21F6BDBD9235}" destId="{A36BE480-83B9-4F05-B48D-5E966CF03FFF}" srcOrd="1" destOrd="0" presId="urn:microsoft.com/office/officeart/2016/7/layout/LinearArrowProcessNumbered"/>
    <dgm:cxn modelId="{C58DD54D-9AF5-489E-AB2A-5341DFB5EF80}" type="presParOf" srcId="{A36BE480-83B9-4F05-B48D-5E966CF03FFF}" destId="{D625E94D-A31E-46E8-8F5E-9639F5271A06}" srcOrd="0" destOrd="0" presId="urn:microsoft.com/office/officeart/2016/7/layout/LinearArrowProcessNumbered"/>
    <dgm:cxn modelId="{864F33FE-EC4D-41D0-946C-A44223A85D1D}" type="presParOf" srcId="{A36BE480-83B9-4F05-B48D-5E966CF03FFF}" destId="{BF887395-C852-4D93-8908-B3F8F623B1A7}" srcOrd="1" destOrd="0" presId="urn:microsoft.com/office/officeart/2016/7/layout/LinearArrowProcessNumbered"/>
    <dgm:cxn modelId="{77C0AFBA-C71A-4940-822D-27F6986FEF79}" type="presParOf" srcId="{A36BE480-83B9-4F05-B48D-5E966CF03FFF}" destId="{3599E24B-8DE5-4429-A7F3-5D2B363B935C}" srcOrd="2" destOrd="0" presId="urn:microsoft.com/office/officeart/2016/7/layout/LinearArrowProcessNumbered"/>
    <dgm:cxn modelId="{6AF1ECF7-F9D8-44D7-9A00-FAA88F5EB736}" type="presParOf" srcId="{A36BE480-83B9-4F05-B48D-5E966CF03FFF}" destId="{E959D5D8-4E33-4780-B10B-BC585C946E52}" srcOrd="3" destOrd="0" presId="urn:microsoft.com/office/officeart/2016/7/layout/LinearArrowProcessNumbered"/>
    <dgm:cxn modelId="{805446CD-C31B-4745-9AA7-24240C4DF91B}" type="presParOf" srcId="{1054B5B8-4A4B-4504-BABF-21F6BDBD9235}" destId="{4B1E824A-C818-421A-B56A-0FA2C9353217}" srcOrd="2" destOrd="0" presId="urn:microsoft.com/office/officeart/2016/7/layout/LinearArrowProcessNumbered"/>
    <dgm:cxn modelId="{A3679F98-D264-4299-9916-6588779C8343}" type="presParOf" srcId="{DD9F43D4-799C-4978-A579-6BA4F2CC64D8}" destId="{426A574D-ABE8-4ED6-99F6-07DF33EF1D29}" srcOrd="5" destOrd="0" presId="urn:microsoft.com/office/officeart/2016/7/layout/LinearArrowProcessNumbered"/>
    <dgm:cxn modelId="{A38B3DEB-8CC7-433E-AD9A-F01316D902A5}" type="presParOf" srcId="{DD9F43D4-799C-4978-A579-6BA4F2CC64D8}" destId="{B7CD092F-900E-4BE4-82C8-8827B4AE4781}" srcOrd="6" destOrd="0" presId="urn:microsoft.com/office/officeart/2016/7/layout/LinearArrowProcessNumbered"/>
    <dgm:cxn modelId="{AC6DC8F0-96AB-46D5-A8B5-F4AC4571E78A}" type="presParOf" srcId="{B7CD092F-900E-4BE4-82C8-8827B4AE4781}" destId="{92617C07-B7F0-4AFD-BD12-176725D397B5}" srcOrd="0" destOrd="0" presId="urn:microsoft.com/office/officeart/2016/7/layout/LinearArrowProcessNumbered"/>
    <dgm:cxn modelId="{6728F611-38D7-43F4-BFF4-0FF3B69E04B5}" type="presParOf" srcId="{B7CD092F-900E-4BE4-82C8-8827B4AE4781}" destId="{DC63B202-3435-4180-BD39-626065AE6C63}" srcOrd="1" destOrd="0" presId="urn:microsoft.com/office/officeart/2016/7/layout/LinearArrowProcessNumbered"/>
    <dgm:cxn modelId="{B7F25FEC-85ED-4C24-B8A1-1FACDF039211}" type="presParOf" srcId="{DC63B202-3435-4180-BD39-626065AE6C63}" destId="{DF39DCCA-A556-44C3-8188-92EB9A7F9001}" srcOrd="0" destOrd="0" presId="urn:microsoft.com/office/officeart/2016/7/layout/LinearArrowProcessNumbered"/>
    <dgm:cxn modelId="{C43A67F7-7484-4035-8D26-9BEE28D8C077}" type="presParOf" srcId="{DC63B202-3435-4180-BD39-626065AE6C63}" destId="{D448F9A5-E542-4A53-BE96-9AE6B3A7F351}" srcOrd="1" destOrd="0" presId="urn:microsoft.com/office/officeart/2016/7/layout/LinearArrowProcessNumbered"/>
    <dgm:cxn modelId="{2E4D9C1F-CF19-4ED4-9C50-1999915B9A80}" type="presParOf" srcId="{DC63B202-3435-4180-BD39-626065AE6C63}" destId="{32048B18-659D-43F2-B40E-B459A72B54B4}" srcOrd="2" destOrd="0" presId="urn:microsoft.com/office/officeart/2016/7/layout/LinearArrowProcessNumbered"/>
    <dgm:cxn modelId="{E9B95C9A-B731-4337-A509-95A0CFE0BFF0}" type="presParOf" srcId="{DC63B202-3435-4180-BD39-626065AE6C63}" destId="{FA18BC7C-F13C-4337-8C08-7614F5015AB1}" srcOrd="3" destOrd="0" presId="urn:microsoft.com/office/officeart/2016/7/layout/LinearArrowProcessNumbered"/>
    <dgm:cxn modelId="{0BB730F4-AE1D-42DE-B46C-5F83815768D5}" type="presParOf" srcId="{B7CD092F-900E-4BE4-82C8-8827B4AE4781}" destId="{491E39CA-4A0B-465E-945E-73A4DDDE79B2}" srcOrd="2" destOrd="0" presId="urn:microsoft.com/office/officeart/2016/7/layout/LinearArrowProcessNumbered"/>
    <dgm:cxn modelId="{4D183B91-6468-45A6-B0E3-A45D6B60164C}" type="presParOf" srcId="{DD9F43D4-799C-4978-A579-6BA4F2CC64D8}" destId="{74D37303-E7EF-4F37-86F1-7E9F1FDC1F0B}" srcOrd="7" destOrd="0" presId="urn:microsoft.com/office/officeart/2016/7/layout/LinearArrowProcessNumbered"/>
    <dgm:cxn modelId="{C27C20BE-C481-4A80-95CC-64D7A0B2DF96}" type="presParOf" srcId="{DD9F43D4-799C-4978-A579-6BA4F2CC64D8}" destId="{112BF416-7696-4094-B9A9-4B1E2E73F69C}" srcOrd="8" destOrd="0" presId="urn:microsoft.com/office/officeart/2016/7/layout/LinearArrowProcessNumbered"/>
    <dgm:cxn modelId="{EB4EDE1A-916F-406B-AF1C-352EBC348942}" type="presParOf" srcId="{112BF416-7696-4094-B9A9-4B1E2E73F69C}" destId="{8DAC0E9A-359F-4DD5-941D-5C1F9FED5ECF}" srcOrd="0" destOrd="0" presId="urn:microsoft.com/office/officeart/2016/7/layout/LinearArrowProcessNumbered"/>
    <dgm:cxn modelId="{139481F7-8137-4BCC-A06E-23173785ACEA}" type="presParOf" srcId="{112BF416-7696-4094-B9A9-4B1E2E73F69C}" destId="{F8E8A9A9-2924-40FF-86EA-6CD9C2DCBA87}" srcOrd="1" destOrd="0" presId="urn:microsoft.com/office/officeart/2016/7/layout/LinearArrowProcessNumbered"/>
    <dgm:cxn modelId="{A2685692-8D56-4A74-91C4-C06F8FB40A40}" type="presParOf" srcId="{F8E8A9A9-2924-40FF-86EA-6CD9C2DCBA87}" destId="{65C212A8-9DA0-498E-AA7B-C17EC7072D7E}" srcOrd="0" destOrd="0" presId="urn:microsoft.com/office/officeart/2016/7/layout/LinearArrowProcessNumbered"/>
    <dgm:cxn modelId="{25BAC108-CD6B-460D-A51D-A3211A8298F8}" type="presParOf" srcId="{F8E8A9A9-2924-40FF-86EA-6CD9C2DCBA87}" destId="{74CF2877-1E5D-416B-BCE3-762A0B5C5E65}" srcOrd="1" destOrd="0" presId="urn:microsoft.com/office/officeart/2016/7/layout/LinearArrowProcessNumbered"/>
    <dgm:cxn modelId="{2554F1B2-04AD-4433-869F-EFA8CAD8CBBC}" type="presParOf" srcId="{F8E8A9A9-2924-40FF-86EA-6CD9C2DCBA87}" destId="{6FDB34BD-72DE-476B-B9FB-B654FBD76AEA}" srcOrd="2" destOrd="0" presId="urn:microsoft.com/office/officeart/2016/7/layout/LinearArrowProcessNumbered"/>
    <dgm:cxn modelId="{EE4BFA97-3457-4AB0-AEC8-F9D2CB115F74}" type="presParOf" srcId="{F8E8A9A9-2924-40FF-86EA-6CD9C2DCBA87}" destId="{B888A41B-0B1A-4DAC-BF59-94D8D7B0FF36}" srcOrd="3" destOrd="0" presId="urn:microsoft.com/office/officeart/2016/7/layout/LinearArrowProcessNumbered"/>
    <dgm:cxn modelId="{951A1E12-5C83-4A62-B728-01D913D753A0}" type="presParOf" srcId="{112BF416-7696-4094-B9A9-4B1E2E73F69C}" destId="{68D66840-FDE1-46D0-AC00-39AC3A590551}" srcOrd="2" destOrd="0" presId="urn:microsoft.com/office/officeart/2016/7/layout/LinearArrowProcessNumbered"/>
  </dgm:cxnLst>
  <dgm:bg>
    <a:solidFill>
      <a:schemeClr val="bg1">
        <a:lumMod val="95000"/>
      </a:schemeClr>
    </a:solidFill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AAE03A0-9FE7-47E0-AF70-AAE2E1A6D280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C4339FA4-9C42-4E3F-BF28-B4B2245E3D86}">
      <dgm:prSet phldrT="[Κείμενο]" custT="1"/>
      <dgm:spPr/>
      <dgm:t>
        <a:bodyPr/>
        <a:lstStyle/>
        <a:p>
          <a:pPr algn="ctr" rtl="0"/>
          <a:r>
            <a:rPr kumimoji="0" lang="el-GR" sz="2000" b="0" i="0" u="none" strike="noStrike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Σκοπός </a:t>
          </a:r>
        </a:p>
        <a:p>
          <a:pPr algn="ctr" rtl="0"/>
          <a:r>
            <a:rPr kumimoji="0" lang="el-GR" sz="2000" b="0" i="0" u="none" strike="noStrike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του έργου </a:t>
          </a:r>
          <a:endParaRPr lang="el-GR" sz="2000" b="0" dirty="0">
            <a:solidFill>
              <a:schemeClr val="tx2">
                <a:lumMod val="7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B87FBAE-CF2D-4D35-8185-7A152A504452}" type="parTrans" cxnId="{C2B3B597-09D1-422B-AC04-80FABF680934}">
      <dgm:prSet/>
      <dgm:spPr/>
      <dgm:t>
        <a:bodyPr/>
        <a:lstStyle/>
        <a:p>
          <a:endParaRPr lang="el-GR"/>
        </a:p>
      </dgm:t>
    </dgm:pt>
    <dgm:pt modelId="{D18B0823-558E-4280-AB3B-F6F221880439}" type="sibTrans" cxnId="{C2B3B597-09D1-422B-AC04-80FABF680934}">
      <dgm:prSet/>
      <dgm:spPr/>
      <dgm:t>
        <a:bodyPr/>
        <a:lstStyle/>
        <a:p>
          <a:endParaRPr lang="el-GR"/>
        </a:p>
      </dgm:t>
    </dgm:pt>
    <dgm:pt modelId="{6334B996-AA81-4B37-884E-3261849C59E3}">
      <dgm:prSet phldrT="[Κείμενο]" custT="1"/>
      <dgm:spPr/>
      <dgm:t>
        <a:bodyPr/>
        <a:lstStyle/>
        <a:p>
          <a:pPr algn="ctr" rtl="0"/>
          <a:r>
            <a:rPr kumimoji="0" lang="el-GR" sz="1600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Η μέτρηση της ικανοποίησης των πολιτών που έχουν νοσηλευθεί στα Νοσοκομεία του ΕΣΥ.</a:t>
          </a:r>
          <a:endParaRPr lang="el-GR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C8E1BB1-48BB-4773-86A6-4D012216CCA1}" type="parTrans" cxnId="{D6F4B7FC-6715-46F6-9C06-0DFA9AFB6ECD}">
      <dgm:prSet/>
      <dgm:spPr/>
      <dgm:t>
        <a:bodyPr/>
        <a:lstStyle/>
        <a:p>
          <a:endParaRPr lang="el-GR"/>
        </a:p>
      </dgm:t>
    </dgm:pt>
    <dgm:pt modelId="{CFF27DEB-45C1-4C02-B96D-D74E56F570DB}" type="sibTrans" cxnId="{D6F4B7FC-6715-46F6-9C06-0DFA9AFB6ECD}">
      <dgm:prSet/>
      <dgm:spPr/>
      <dgm:t>
        <a:bodyPr/>
        <a:lstStyle/>
        <a:p>
          <a:endParaRPr lang="el-GR"/>
        </a:p>
      </dgm:t>
    </dgm:pt>
    <dgm:pt modelId="{00C5DC33-69B5-4838-B799-5775E2AA6685}" type="pres">
      <dgm:prSet presAssocID="{EAAE03A0-9FE7-47E0-AF70-AAE2E1A6D280}" presName="vert0" presStyleCnt="0">
        <dgm:presLayoutVars>
          <dgm:dir/>
          <dgm:animOne val="branch"/>
          <dgm:animLvl val="lvl"/>
        </dgm:presLayoutVars>
      </dgm:prSet>
      <dgm:spPr/>
    </dgm:pt>
    <dgm:pt modelId="{37A05BF8-139D-4000-861D-35F7758C2E02}" type="pres">
      <dgm:prSet presAssocID="{C4339FA4-9C42-4E3F-BF28-B4B2245E3D86}" presName="thickLine" presStyleLbl="alignNode1" presStyleIdx="0" presStyleCnt="1"/>
      <dgm:spPr/>
    </dgm:pt>
    <dgm:pt modelId="{83083398-6EC7-4D94-AE9D-7C43D4A7B079}" type="pres">
      <dgm:prSet presAssocID="{C4339FA4-9C42-4E3F-BF28-B4B2245E3D86}" presName="horz1" presStyleCnt="0"/>
      <dgm:spPr/>
    </dgm:pt>
    <dgm:pt modelId="{AF5FC10B-7610-408B-B75D-2ECE3032691D}" type="pres">
      <dgm:prSet presAssocID="{C4339FA4-9C42-4E3F-BF28-B4B2245E3D86}" presName="tx1" presStyleLbl="revTx" presStyleIdx="0" presStyleCnt="2" custScaleX="93707"/>
      <dgm:spPr/>
    </dgm:pt>
    <dgm:pt modelId="{3F65930C-E221-48BE-8BA9-E26A382B1004}" type="pres">
      <dgm:prSet presAssocID="{C4339FA4-9C42-4E3F-BF28-B4B2245E3D86}" presName="vert1" presStyleCnt="0"/>
      <dgm:spPr/>
    </dgm:pt>
    <dgm:pt modelId="{0CD15CD3-28BD-4889-93EF-255C42C6A569}" type="pres">
      <dgm:prSet presAssocID="{6334B996-AA81-4B37-884E-3261849C59E3}" presName="vertSpace2a" presStyleCnt="0"/>
      <dgm:spPr/>
    </dgm:pt>
    <dgm:pt modelId="{68F97E37-4F5B-44D4-9EAA-DDF56FF71AC2}" type="pres">
      <dgm:prSet presAssocID="{6334B996-AA81-4B37-884E-3261849C59E3}" presName="horz2" presStyleCnt="0"/>
      <dgm:spPr/>
    </dgm:pt>
    <dgm:pt modelId="{52084AE0-5F2A-4B89-9777-2C320D54881F}" type="pres">
      <dgm:prSet presAssocID="{6334B996-AA81-4B37-884E-3261849C59E3}" presName="horzSpace2" presStyleCnt="0"/>
      <dgm:spPr/>
    </dgm:pt>
    <dgm:pt modelId="{77761E51-CBFC-44B4-97F4-EA823DF2C25A}" type="pres">
      <dgm:prSet presAssocID="{6334B996-AA81-4B37-884E-3261849C59E3}" presName="tx2" presStyleLbl="revTx" presStyleIdx="1" presStyleCnt="2" custScaleY="66089" custLinFactNeighborX="-143" custLinFactNeighborY="10084"/>
      <dgm:spPr/>
    </dgm:pt>
    <dgm:pt modelId="{7441A1D6-2CCF-4DE7-8C99-841F32BA48B4}" type="pres">
      <dgm:prSet presAssocID="{6334B996-AA81-4B37-884E-3261849C59E3}" presName="vert2" presStyleCnt="0"/>
      <dgm:spPr/>
    </dgm:pt>
    <dgm:pt modelId="{68297808-50D9-4BFD-88F4-42C330BB781E}" type="pres">
      <dgm:prSet presAssocID="{6334B996-AA81-4B37-884E-3261849C59E3}" presName="thinLine2b" presStyleLbl="callout" presStyleIdx="0" presStyleCnt="1"/>
      <dgm:spPr/>
    </dgm:pt>
    <dgm:pt modelId="{ECD45B83-0329-4989-828F-E7848295ECC6}" type="pres">
      <dgm:prSet presAssocID="{6334B996-AA81-4B37-884E-3261849C59E3}" presName="vertSpace2b" presStyleCnt="0"/>
      <dgm:spPr/>
    </dgm:pt>
  </dgm:ptLst>
  <dgm:cxnLst>
    <dgm:cxn modelId="{D3217B7E-511B-42AD-A1AC-3B609A9EEE60}" type="presOf" srcId="{EAAE03A0-9FE7-47E0-AF70-AAE2E1A6D280}" destId="{00C5DC33-69B5-4838-B799-5775E2AA6685}" srcOrd="0" destOrd="0" presId="urn:microsoft.com/office/officeart/2008/layout/LinedList"/>
    <dgm:cxn modelId="{96A35B97-A99A-4F67-B1EE-1AC0198136C2}" type="presOf" srcId="{6334B996-AA81-4B37-884E-3261849C59E3}" destId="{77761E51-CBFC-44B4-97F4-EA823DF2C25A}" srcOrd="0" destOrd="0" presId="urn:microsoft.com/office/officeart/2008/layout/LinedList"/>
    <dgm:cxn modelId="{C2B3B597-09D1-422B-AC04-80FABF680934}" srcId="{EAAE03A0-9FE7-47E0-AF70-AAE2E1A6D280}" destId="{C4339FA4-9C42-4E3F-BF28-B4B2245E3D86}" srcOrd="0" destOrd="0" parTransId="{0B87FBAE-CF2D-4D35-8185-7A152A504452}" sibTransId="{D18B0823-558E-4280-AB3B-F6F221880439}"/>
    <dgm:cxn modelId="{BD9140BD-9196-4C38-9B37-A140C172B9EE}" type="presOf" srcId="{C4339FA4-9C42-4E3F-BF28-B4B2245E3D86}" destId="{AF5FC10B-7610-408B-B75D-2ECE3032691D}" srcOrd="0" destOrd="0" presId="urn:microsoft.com/office/officeart/2008/layout/LinedList"/>
    <dgm:cxn modelId="{D6F4B7FC-6715-46F6-9C06-0DFA9AFB6ECD}" srcId="{C4339FA4-9C42-4E3F-BF28-B4B2245E3D86}" destId="{6334B996-AA81-4B37-884E-3261849C59E3}" srcOrd="0" destOrd="0" parTransId="{8C8E1BB1-48BB-4773-86A6-4D012216CCA1}" sibTransId="{CFF27DEB-45C1-4C02-B96D-D74E56F570DB}"/>
    <dgm:cxn modelId="{3E76ACD4-0E35-4CF7-9A3C-90DF7C76EB74}" type="presParOf" srcId="{00C5DC33-69B5-4838-B799-5775E2AA6685}" destId="{37A05BF8-139D-4000-861D-35F7758C2E02}" srcOrd="0" destOrd="0" presId="urn:microsoft.com/office/officeart/2008/layout/LinedList"/>
    <dgm:cxn modelId="{CED470C2-30AF-49FF-97BE-050EA07AAD1C}" type="presParOf" srcId="{00C5DC33-69B5-4838-B799-5775E2AA6685}" destId="{83083398-6EC7-4D94-AE9D-7C43D4A7B079}" srcOrd="1" destOrd="0" presId="urn:microsoft.com/office/officeart/2008/layout/LinedList"/>
    <dgm:cxn modelId="{F6380A92-23FB-42D4-9BA8-F4ACD156946C}" type="presParOf" srcId="{83083398-6EC7-4D94-AE9D-7C43D4A7B079}" destId="{AF5FC10B-7610-408B-B75D-2ECE3032691D}" srcOrd="0" destOrd="0" presId="urn:microsoft.com/office/officeart/2008/layout/LinedList"/>
    <dgm:cxn modelId="{E07BB5EE-4C55-4262-84F5-18AC77585D05}" type="presParOf" srcId="{83083398-6EC7-4D94-AE9D-7C43D4A7B079}" destId="{3F65930C-E221-48BE-8BA9-E26A382B1004}" srcOrd="1" destOrd="0" presId="urn:microsoft.com/office/officeart/2008/layout/LinedList"/>
    <dgm:cxn modelId="{9775ACEB-6CA1-4E9B-A1A3-CCFB4A231C90}" type="presParOf" srcId="{3F65930C-E221-48BE-8BA9-E26A382B1004}" destId="{0CD15CD3-28BD-4889-93EF-255C42C6A569}" srcOrd="0" destOrd="0" presId="urn:microsoft.com/office/officeart/2008/layout/LinedList"/>
    <dgm:cxn modelId="{9A846DF0-2BF7-48E8-A3AC-AA3F99233690}" type="presParOf" srcId="{3F65930C-E221-48BE-8BA9-E26A382B1004}" destId="{68F97E37-4F5B-44D4-9EAA-DDF56FF71AC2}" srcOrd="1" destOrd="0" presId="urn:microsoft.com/office/officeart/2008/layout/LinedList"/>
    <dgm:cxn modelId="{1A3C24E2-4ED0-4296-B80B-0CADE8B59B6D}" type="presParOf" srcId="{68F97E37-4F5B-44D4-9EAA-DDF56FF71AC2}" destId="{52084AE0-5F2A-4B89-9777-2C320D54881F}" srcOrd="0" destOrd="0" presId="urn:microsoft.com/office/officeart/2008/layout/LinedList"/>
    <dgm:cxn modelId="{B9925DDF-06F5-46D8-BD4D-E4A5F7BA01E9}" type="presParOf" srcId="{68F97E37-4F5B-44D4-9EAA-DDF56FF71AC2}" destId="{77761E51-CBFC-44B4-97F4-EA823DF2C25A}" srcOrd="1" destOrd="0" presId="urn:microsoft.com/office/officeart/2008/layout/LinedList"/>
    <dgm:cxn modelId="{769F88EE-F3C1-4EA0-9331-34FB4649A36F}" type="presParOf" srcId="{68F97E37-4F5B-44D4-9EAA-DDF56FF71AC2}" destId="{7441A1D6-2CCF-4DE7-8C99-841F32BA48B4}" srcOrd="2" destOrd="0" presId="urn:microsoft.com/office/officeart/2008/layout/LinedList"/>
    <dgm:cxn modelId="{F4999D88-8B65-4F86-8446-7AC0DDF6F945}" type="presParOf" srcId="{3F65930C-E221-48BE-8BA9-E26A382B1004}" destId="{68297808-50D9-4BFD-88F4-42C330BB781E}" srcOrd="2" destOrd="0" presId="urn:microsoft.com/office/officeart/2008/layout/LinedList"/>
    <dgm:cxn modelId="{18631A28-E402-4A42-B774-84FFF80F011C}" type="presParOf" srcId="{3F65930C-E221-48BE-8BA9-E26A382B1004}" destId="{ECD45B83-0329-4989-828F-E7848295ECC6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972C514-673E-4C28-A33F-1FE05E7E091B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A0501F17-A8D5-4780-BF71-6D7D752D4D09}">
      <dgm:prSet phldrT="[Κείμενο]" custT="1"/>
      <dgm:spPr/>
      <dgm:t>
        <a:bodyPr/>
        <a:lstStyle/>
        <a:p>
          <a:pPr algn="ctr" rtl="0"/>
          <a:r>
            <a:rPr kumimoji="0" lang="el-GR" sz="2000" b="0" i="0" u="none" strike="noStrike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Ποιοι </a:t>
          </a:r>
        </a:p>
        <a:p>
          <a:pPr algn="ctr" rtl="0"/>
          <a:r>
            <a:rPr kumimoji="0" lang="el-GR" sz="2000" b="0" i="0" u="none" strike="noStrike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αξιολογούν </a:t>
          </a:r>
          <a:endParaRPr lang="el-GR" sz="2000" b="0" dirty="0">
            <a:solidFill>
              <a:schemeClr val="tx2">
                <a:lumMod val="7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4EC4E55-29E6-45E6-AE96-0E44D16EBEC3}" type="parTrans" cxnId="{6C34315E-5AA5-4C0E-B885-03EC1BE35895}">
      <dgm:prSet/>
      <dgm:spPr/>
      <dgm:t>
        <a:bodyPr/>
        <a:lstStyle/>
        <a:p>
          <a:endParaRPr lang="el-GR"/>
        </a:p>
      </dgm:t>
    </dgm:pt>
    <dgm:pt modelId="{C4C29B38-4D58-47F2-9C6E-6CB4EA1AC610}" type="sibTrans" cxnId="{6C34315E-5AA5-4C0E-B885-03EC1BE35895}">
      <dgm:prSet/>
      <dgm:spPr/>
      <dgm:t>
        <a:bodyPr/>
        <a:lstStyle/>
        <a:p>
          <a:endParaRPr lang="el-GR"/>
        </a:p>
      </dgm:t>
    </dgm:pt>
    <dgm:pt modelId="{690C3F6C-6734-404C-8DDF-FF2B74C1E819}">
      <dgm:prSet phldrT="[Κείμενο]" custT="1"/>
      <dgm:spPr/>
      <dgm:t>
        <a:bodyPr/>
        <a:lstStyle/>
        <a:p>
          <a:pPr algn="ctr" rtl="0"/>
          <a:endParaRPr kumimoji="0" lang="en-US" sz="1600" b="0" i="0" u="none" strike="noStrike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  <a:p>
          <a:pPr algn="ctr" rtl="0"/>
          <a:r>
            <a:rPr kumimoji="0" lang="el-GR" sz="1600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Οι πολίτες </a:t>
          </a:r>
          <a:r>
            <a:rPr kumimoji="0" lang="el-GR" sz="1600" b="1" i="0" u="none" strike="noStrike" cap="none" spc="0" normalizeH="0" baseline="0" noProof="0" dirty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άνω των 18 ετών που έχουν νοσηλευθεί από μία (1) ημέρα και άνω </a:t>
          </a:r>
          <a:r>
            <a:rPr kumimoji="0" lang="el-GR" sz="1600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σε δημόσιο νοσοκομείο. </a:t>
          </a:r>
          <a:endParaRPr kumimoji="0" lang="en-US" sz="1600" b="0" i="0" u="none" strike="noStrike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</dgm:t>
    </dgm:pt>
    <dgm:pt modelId="{3E8C0037-ED71-4089-AD95-4E79E2ADE24B}" type="parTrans" cxnId="{1D80FDD3-893C-40F6-AE3A-5AB9905B0004}">
      <dgm:prSet/>
      <dgm:spPr/>
      <dgm:t>
        <a:bodyPr/>
        <a:lstStyle/>
        <a:p>
          <a:endParaRPr lang="el-GR"/>
        </a:p>
      </dgm:t>
    </dgm:pt>
    <dgm:pt modelId="{88CD82E1-9C6E-4040-BB07-5F79D319DBE5}" type="sibTrans" cxnId="{1D80FDD3-893C-40F6-AE3A-5AB9905B0004}">
      <dgm:prSet/>
      <dgm:spPr/>
      <dgm:t>
        <a:bodyPr/>
        <a:lstStyle/>
        <a:p>
          <a:endParaRPr lang="el-GR"/>
        </a:p>
      </dgm:t>
    </dgm:pt>
    <dgm:pt modelId="{949022C0-74DF-43DD-9E76-0E347A7B4835}" type="pres">
      <dgm:prSet presAssocID="{7972C514-673E-4C28-A33F-1FE05E7E091B}" presName="vert0" presStyleCnt="0">
        <dgm:presLayoutVars>
          <dgm:dir/>
          <dgm:animOne val="branch"/>
          <dgm:animLvl val="lvl"/>
        </dgm:presLayoutVars>
      </dgm:prSet>
      <dgm:spPr/>
    </dgm:pt>
    <dgm:pt modelId="{AA3D9947-1294-4C3F-88A7-0B81053586ED}" type="pres">
      <dgm:prSet presAssocID="{A0501F17-A8D5-4780-BF71-6D7D752D4D09}" presName="thickLine" presStyleLbl="alignNode1" presStyleIdx="0" presStyleCnt="1"/>
      <dgm:spPr/>
    </dgm:pt>
    <dgm:pt modelId="{5EB45C56-4982-4ED2-BDBF-03321212B4F8}" type="pres">
      <dgm:prSet presAssocID="{A0501F17-A8D5-4780-BF71-6D7D752D4D09}" presName="horz1" presStyleCnt="0"/>
      <dgm:spPr/>
    </dgm:pt>
    <dgm:pt modelId="{8495BA91-EA1A-451E-893D-88B6D33A33AC}" type="pres">
      <dgm:prSet presAssocID="{A0501F17-A8D5-4780-BF71-6D7D752D4D09}" presName="tx1" presStyleLbl="revTx" presStyleIdx="0" presStyleCnt="2" custScaleX="90852" custLinFactNeighborY="1621"/>
      <dgm:spPr/>
    </dgm:pt>
    <dgm:pt modelId="{7082332A-07DD-4201-93EC-5E40740C1805}" type="pres">
      <dgm:prSet presAssocID="{A0501F17-A8D5-4780-BF71-6D7D752D4D09}" presName="vert1" presStyleCnt="0"/>
      <dgm:spPr/>
    </dgm:pt>
    <dgm:pt modelId="{F823FAAA-36BB-4258-8B12-2A325D56D78D}" type="pres">
      <dgm:prSet presAssocID="{690C3F6C-6734-404C-8DDF-FF2B74C1E819}" presName="vertSpace2a" presStyleCnt="0"/>
      <dgm:spPr/>
    </dgm:pt>
    <dgm:pt modelId="{767968A2-589C-4E06-8D4E-F38C23E8D764}" type="pres">
      <dgm:prSet presAssocID="{690C3F6C-6734-404C-8DDF-FF2B74C1E819}" presName="horz2" presStyleCnt="0"/>
      <dgm:spPr/>
    </dgm:pt>
    <dgm:pt modelId="{66BAF6B7-17FD-4658-AFD1-6C0F50B551C6}" type="pres">
      <dgm:prSet presAssocID="{690C3F6C-6734-404C-8DDF-FF2B74C1E819}" presName="horzSpace2" presStyleCnt="0"/>
      <dgm:spPr/>
    </dgm:pt>
    <dgm:pt modelId="{045E7550-CE51-43BD-9C13-B62AA1CB16EA}" type="pres">
      <dgm:prSet presAssocID="{690C3F6C-6734-404C-8DDF-FF2B74C1E819}" presName="tx2" presStyleLbl="revTx" presStyleIdx="1" presStyleCnt="2" custScaleY="207370" custLinFactNeighborY="33861"/>
      <dgm:spPr/>
    </dgm:pt>
    <dgm:pt modelId="{F982EB79-430F-449D-96DB-DE9C043F4427}" type="pres">
      <dgm:prSet presAssocID="{690C3F6C-6734-404C-8DDF-FF2B74C1E819}" presName="vert2" presStyleCnt="0"/>
      <dgm:spPr/>
    </dgm:pt>
    <dgm:pt modelId="{E5C1074D-6D86-4E14-B9D7-B2D86F975A7A}" type="pres">
      <dgm:prSet presAssocID="{690C3F6C-6734-404C-8DDF-FF2B74C1E819}" presName="thinLine2b" presStyleLbl="callout" presStyleIdx="0" presStyleCnt="1" custLinFactY="-321403" custLinFactNeighborX="865" custLinFactNeighborY="-400000"/>
      <dgm:spPr/>
    </dgm:pt>
    <dgm:pt modelId="{F0D94D73-A4BE-40D8-B224-53255E09E708}" type="pres">
      <dgm:prSet presAssocID="{690C3F6C-6734-404C-8DDF-FF2B74C1E819}" presName="vertSpace2b" presStyleCnt="0"/>
      <dgm:spPr/>
    </dgm:pt>
  </dgm:ptLst>
  <dgm:cxnLst>
    <dgm:cxn modelId="{23DCBB1B-6DA8-4E84-B739-51C11F5DAFC9}" type="presOf" srcId="{690C3F6C-6734-404C-8DDF-FF2B74C1E819}" destId="{045E7550-CE51-43BD-9C13-B62AA1CB16EA}" srcOrd="0" destOrd="0" presId="urn:microsoft.com/office/officeart/2008/layout/LinedList"/>
    <dgm:cxn modelId="{6C34315E-5AA5-4C0E-B885-03EC1BE35895}" srcId="{7972C514-673E-4C28-A33F-1FE05E7E091B}" destId="{A0501F17-A8D5-4780-BF71-6D7D752D4D09}" srcOrd="0" destOrd="0" parTransId="{F4EC4E55-29E6-45E6-AE96-0E44D16EBEC3}" sibTransId="{C4C29B38-4D58-47F2-9C6E-6CB4EA1AC610}"/>
    <dgm:cxn modelId="{B99A2773-50E6-4417-9578-F12868E6C26F}" type="presOf" srcId="{A0501F17-A8D5-4780-BF71-6D7D752D4D09}" destId="{8495BA91-EA1A-451E-893D-88B6D33A33AC}" srcOrd="0" destOrd="0" presId="urn:microsoft.com/office/officeart/2008/layout/LinedList"/>
    <dgm:cxn modelId="{1D80FDD3-893C-40F6-AE3A-5AB9905B0004}" srcId="{A0501F17-A8D5-4780-BF71-6D7D752D4D09}" destId="{690C3F6C-6734-404C-8DDF-FF2B74C1E819}" srcOrd="0" destOrd="0" parTransId="{3E8C0037-ED71-4089-AD95-4E79E2ADE24B}" sibTransId="{88CD82E1-9C6E-4040-BB07-5F79D319DBE5}"/>
    <dgm:cxn modelId="{BFBA0EFA-B954-49A6-A122-AF7C9896A5FD}" type="presOf" srcId="{7972C514-673E-4C28-A33F-1FE05E7E091B}" destId="{949022C0-74DF-43DD-9E76-0E347A7B4835}" srcOrd="0" destOrd="0" presId="urn:microsoft.com/office/officeart/2008/layout/LinedList"/>
    <dgm:cxn modelId="{8FA875FF-FA8A-4D9D-82DB-F87DC2232556}" type="presParOf" srcId="{949022C0-74DF-43DD-9E76-0E347A7B4835}" destId="{AA3D9947-1294-4C3F-88A7-0B81053586ED}" srcOrd="0" destOrd="0" presId="urn:microsoft.com/office/officeart/2008/layout/LinedList"/>
    <dgm:cxn modelId="{9763D991-7EE5-4D87-8262-24067FA01E0D}" type="presParOf" srcId="{949022C0-74DF-43DD-9E76-0E347A7B4835}" destId="{5EB45C56-4982-4ED2-BDBF-03321212B4F8}" srcOrd="1" destOrd="0" presId="urn:microsoft.com/office/officeart/2008/layout/LinedList"/>
    <dgm:cxn modelId="{170DB151-E158-40A8-A354-CECE4CEF5DC3}" type="presParOf" srcId="{5EB45C56-4982-4ED2-BDBF-03321212B4F8}" destId="{8495BA91-EA1A-451E-893D-88B6D33A33AC}" srcOrd="0" destOrd="0" presId="urn:microsoft.com/office/officeart/2008/layout/LinedList"/>
    <dgm:cxn modelId="{514B8930-64CA-4AB5-85C1-171F0571D337}" type="presParOf" srcId="{5EB45C56-4982-4ED2-BDBF-03321212B4F8}" destId="{7082332A-07DD-4201-93EC-5E40740C1805}" srcOrd="1" destOrd="0" presId="urn:microsoft.com/office/officeart/2008/layout/LinedList"/>
    <dgm:cxn modelId="{971A95C9-537C-43AD-BC99-57AB947F2CFB}" type="presParOf" srcId="{7082332A-07DD-4201-93EC-5E40740C1805}" destId="{F823FAAA-36BB-4258-8B12-2A325D56D78D}" srcOrd="0" destOrd="0" presId="urn:microsoft.com/office/officeart/2008/layout/LinedList"/>
    <dgm:cxn modelId="{99966559-900D-447E-B896-F3D0C5034547}" type="presParOf" srcId="{7082332A-07DD-4201-93EC-5E40740C1805}" destId="{767968A2-589C-4E06-8D4E-F38C23E8D764}" srcOrd="1" destOrd="0" presId="urn:microsoft.com/office/officeart/2008/layout/LinedList"/>
    <dgm:cxn modelId="{5A5BF09A-F200-4E55-9C86-2DC76235A4A4}" type="presParOf" srcId="{767968A2-589C-4E06-8D4E-F38C23E8D764}" destId="{66BAF6B7-17FD-4658-AFD1-6C0F50B551C6}" srcOrd="0" destOrd="0" presId="urn:microsoft.com/office/officeart/2008/layout/LinedList"/>
    <dgm:cxn modelId="{70CA7B72-9050-4599-802E-A18939933940}" type="presParOf" srcId="{767968A2-589C-4E06-8D4E-F38C23E8D764}" destId="{045E7550-CE51-43BD-9C13-B62AA1CB16EA}" srcOrd="1" destOrd="0" presId="urn:microsoft.com/office/officeart/2008/layout/LinedList"/>
    <dgm:cxn modelId="{43219D45-D1C9-4DF2-B332-54BB7771B9C5}" type="presParOf" srcId="{767968A2-589C-4E06-8D4E-F38C23E8D764}" destId="{F982EB79-430F-449D-96DB-DE9C043F4427}" srcOrd="2" destOrd="0" presId="urn:microsoft.com/office/officeart/2008/layout/LinedList"/>
    <dgm:cxn modelId="{BC2450DA-FDAA-4A69-8155-0F2F84BCD3BA}" type="presParOf" srcId="{7082332A-07DD-4201-93EC-5E40740C1805}" destId="{E5C1074D-6D86-4E14-B9D7-B2D86F975A7A}" srcOrd="2" destOrd="0" presId="urn:microsoft.com/office/officeart/2008/layout/LinedList"/>
    <dgm:cxn modelId="{AF84D82A-C3E0-4094-B662-0E7D6C30CDEA}" type="presParOf" srcId="{7082332A-07DD-4201-93EC-5E40740C1805}" destId="{F0D94D73-A4BE-40D8-B224-53255E09E708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4D6F3C4-0D11-475B-BA16-54DE32B3553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ABBA766E-6CCB-4442-8AF8-BF3EDE52C2B0}">
      <dgm:prSet phldrT="[Κείμενο]" custT="1"/>
      <dgm:spPr/>
      <dgm:t>
        <a:bodyPr/>
        <a:lstStyle/>
        <a:p>
          <a:pPr algn="ctr" rtl="0"/>
          <a:endParaRPr kumimoji="0" lang="en-US" sz="2400" b="1" i="0" u="none" strike="noStrike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  <a:p>
          <a:pPr algn="ctr" rtl="0"/>
          <a:endParaRPr kumimoji="0" lang="el-GR" sz="2000" b="0" i="0" u="none" strike="noStrike" cap="none" spc="0" normalizeH="0" baseline="0" noProof="0" dirty="0">
            <a:ln>
              <a:noFill/>
            </a:ln>
            <a:solidFill>
              <a:schemeClr val="tx2">
                <a:lumMod val="75000"/>
              </a:schemeClr>
            </a:solidFill>
            <a:effectLst/>
            <a:uLnTx/>
            <a:uFillTx/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  <a:p>
          <a:pPr algn="ctr" rtl="0"/>
          <a:r>
            <a:rPr kumimoji="0" lang="el-GR" sz="2000" b="0" i="0" u="none" strike="noStrike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Τι αξιολογείται </a:t>
          </a:r>
          <a:endParaRPr lang="el-GR" sz="2000" b="0" dirty="0">
            <a:solidFill>
              <a:schemeClr val="tx2">
                <a:lumMod val="7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D654782-2104-4D90-86AB-544225708C36}" type="parTrans" cxnId="{037AB2D5-0F46-4BD7-A891-197AA2B42F21}">
      <dgm:prSet/>
      <dgm:spPr/>
      <dgm:t>
        <a:bodyPr/>
        <a:lstStyle/>
        <a:p>
          <a:endParaRPr lang="el-GR"/>
        </a:p>
      </dgm:t>
    </dgm:pt>
    <dgm:pt modelId="{644BA932-165E-4C7D-BA70-80AADB347395}" type="sibTrans" cxnId="{037AB2D5-0F46-4BD7-A891-197AA2B42F21}">
      <dgm:prSet/>
      <dgm:spPr/>
      <dgm:t>
        <a:bodyPr/>
        <a:lstStyle/>
        <a:p>
          <a:endParaRPr lang="el-GR"/>
        </a:p>
      </dgm:t>
    </dgm:pt>
    <dgm:pt modelId="{CEB42ECD-FE74-4B63-9398-F960126208A8}">
      <dgm:prSet phldrT="[Κείμενο]" custT="1"/>
      <dgm:spPr/>
      <dgm:t>
        <a:bodyPr/>
        <a:lstStyle/>
        <a:p>
          <a:pPr rtl="0"/>
          <a:r>
            <a:rPr kumimoji="0" lang="el-GR" sz="1600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1. Προσβασιμότητα</a:t>
          </a:r>
          <a:endParaRPr lang="el-GR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670F58B-ED6B-4D25-94E0-9183B620B50E}" type="parTrans" cxnId="{DC50E999-7D94-451B-B0BE-7B2F12C5A4FC}">
      <dgm:prSet/>
      <dgm:spPr/>
      <dgm:t>
        <a:bodyPr/>
        <a:lstStyle/>
        <a:p>
          <a:endParaRPr lang="el-GR"/>
        </a:p>
      </dgm:t>
    </dgm:pt>
    <dgm:pt modelId="{1C0A541F-8759-4F8F-8433-F166F7B469B1}" type="sibTrans" cxnId="{DC50E999-7D94-451B-B0BE-7B2F12C5A4FC}">
      <dgm:prSet/>
      <dgm:spPr/>
      <dgm:t>
        <a:bodyPr/>
        <a:lstStyle/>
        <a:p>
          <a:endParaRPr lang="el-GR"/>
        </a:p>
      </dgm:t>
    </dgm:pt>
    <dgm:pt modelId="{B218E225-2BBE-40BA-A3F4-3CD9378ECD5F}">
      <dgm:prSet custT="1"/>
      <dgm:spPr/>
      <dgm:t>
        <a:bodyPr/>
        <a:lstStyle/>
        <a:p>
          <a:pPr rtl="0"/>
          <a:r>
            <a:rPr kumimoji="0" lang="el-GR" sz="1600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2. Οργάνωση και συντονισμός της φροντίδας</a:t>
          </a:r>
        </a:p>
      </dgm:t>
    </dgm:pt>
    <dgm:pt modelId="{3BF409E1-AC20-4777-ACA1-059EB8A69CFD}" type="parTrans" cxnId="{47A8F189-3028-4EDC-9B2C-93E578A1681C}">
      <dgm:prSet/>
      <dgm:spPr/>
      <dgm:t>
        <a:bodyPr/>
        <a:lstStyle/>
        <a:p>
          <a:endParaRPr lang="el-GR"/>
        </a:p>
      </dgm:t>
    </dgm:pt>
    <dgm:pt modelId="{4A8C1D2C-CF0A-4B59-A958-6B3D18E58415}" type="sibTrans" cxnId="{47A8F189-3028-4EDC-9B2C-93E578A1681C}">
      <dgm:prSet/>
      <dgm:spPr/>
      <dgm:t>
        <a:bodyPr/>
        <a:lstStyle/>
        <a:p>
          <a:endParaRPr lang="el-GR"/>
        </a:p>
      </dgm:t>
    </dgm:pt>
    <dgm:pt modelId="{83D0921D-C2A2-4918-9E2D-14F3E6334944}">
      <dgm:prSet custT="1"/>
      <dgm:spPr/>
      <dgm:t>
        <a:bodyPr/>
        <a:lstStyle/>
        <a:p>
          <a:pPr rtl="0"/>
          <a:r>
            <a:rPr kumimoji="0" lang="el-GR" sz="1600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3. Ποιότητα φροντίδας και αλληλεπίδραση με το προσωπικό (επικοινωνία, ευγένεια και εμπιστοσύνη) </a:t>
          </a:r>
        </a:p>
      </dgm:t>
    </dgm:pt>
    <dgm:pt modelId="{18D692F4-F589-4020-B752-8C86C7485E62}" type="parTrans" cxnId="{77766EFB-BFCC-4057-A645-5CD78AEA0B22}">
      <dgm:prSet/>
      <dgm:spPr/>
      <dgm:t>
        <a:bodyPr/>
        <a:lstStyle/>
        <a:p>
          <a:endParaRPr lang="el-GR"/>
        </a:p>
      </dgm:t>
    </dgm:pt>
    <dgm:pt modelId="{DF5C0A68-E880-443D-9028-5D5F599F97D7}" type="sibTrans" cxnId="{77766EFB-BFCC-4057-A645-5CD78AEA0B22}">
      <dgm:prSet/>
      <dgm:spPr/>
      <dgm:t>
        <a:bodyPr/>
        <a:lstStyle/>
        <a:p>
          <a:endParaRPr lang="el-GR"/>
        </a:p>
      </dgm:t>
    </dgm:pt>
    <dgm:pt modelId="{6FD8960B-1F59-4B25-9B96-877288918ABA}">
      <dgm:prSet custT="1"/>
      <dgm:spPr/>
      <dgm:t>
        <a:bodyPr/>
        <a:lstStyle/>
        <a:p>
          <a:pPr rtl="0"/>
          <a:r>
            <a:rPr kumimoji="0" lang="el-GR" sz="1600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4. Υποστήριξη και συμμετοχή στη λήψη αποφάσεων</a:t>
          </a:r>
        </a:p>
      </dgm:t>
    </dgm:pt>
    <dgm:pt modelId="{4ADF2962-0FB2-4B23-99EF-F995D150C222}" type="parTrans" cxnId="{E23D5F68-1A1B-4D42-AF79-D0389BCE845B}">
      <dgm:prSet/>
      <dgm:spPr/>
      <dgm:t>
        <a:bodyPr/>
        <a:lstStyle/>
        <a:p>
          <a:endParaRPr lang="el-GR"/>
        </a:p>
      </dgm:t>
    </dgm:pt>
    <dgm:pt modelId="{AB9FB766-417F-474B-8D62-17F9671533BE}" type="sibTrans" cxnId="{E23D5F68-1A1B-4D42-AF79-D0389BCE845B}">
      <dgm:prSet/>
      <dgm:spPr/>
      <dgm:t>
        <a:bodyPr/>
        <a:lstStyle/>
        <a:p>
          <a:endParaRPr lang="el-GR"/>
        </a:p>
      </dgm:t>
    </dgm:pt>
    <dgm:pt modelId="{690E3F57-0355-40C0-9ABD-D170A98133E5}">
      <dgm:prSet custT="1"/>
      <dgm:spPr/>
      <dgm:t>
        <a:bodyPr/>
        <a:lstStyle/>
        <a:p>
          <a:pPr rtl="0"/>
          <a:r>
            <a:rPr kumimoji="0" lang="el-GR" sz="1600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5. Καθαριότητα, υγιεινή και σίτιση </a:t>
          </a:r>
        </a:p>
      </dgm:t>
    </dgm:pt>
    <dgm:pt modelId="{2527AD22-D3B0-4784-9E6E-D34FCBCA8758}" type="parTrans" cxnId="{40626B87-BAD7-45F6-96F2-20D15219AC21}">
      <dgm:prSet/>
      <dgm:spPr/>
      <dgm:t>
        <a:bodyPr/>
        <a:lstStyle/>
        <a:p>
          <a:endParaRPr lang="el-GR"/>
        </a:p>
      </dgm:t>
    </dgm:pt>
    <dgm:pt modelId="{E6719309-465B-4B04-89B3-992C8EACFE38}" type="sibTrans" cxnId="{40626B87-BAD7-45F6-96F2-20D15219AC21}">
      <dgm:prSet/>
      <dgm:spPr/>
      <dgm:t>
        <a:bodyPr/>
        <a:lstStyle/>
        <a:p>
          <a:endParaRPr lang="el-GR"/>
        </a:p>
      </dgm:t>
    </dgm:pt>
    <dgm:pt modelId="{41231FCC-3F2E-473F-9D9C-2AD16B6C46F4}">
      <dgm:prSet custT="1"/>
      <dgm:spPr/>
      <dgm:t>
        <a:bodyPr/>
        <a:lstStyle/>
        <a:p>
          <a:pPr rtl="0"/>
          <a:r>
            <a:rPr kumimoji="0" lang="el-GR" sz="1600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6. Υποστήριξη και ενημέρωση κατά την έξοδο από το νοσοκομείο</a:t>
          </a:r>
        </a:p>
      </dgm:t>
    </dgm:pt>
    <dgm:pt modelId="{D9D2F284-E5E1-420E-80E2-EB5737B38581}" type="parTrans" cxnId="{30D3D947-34DE-45B6-8AFA-A579CA60EA95}">
      <dgm:prSet/>
      <dgm:spPr/>
      <dgm:t>
        <a:bodyPr/>
        <a:lstStyle/>
        <a:p>
          <a:endParaRPr lang="el-GR"/>
        </a:p>
      </dgm:t>
    </dgm:pt>
    <dgm:pt modelId="{119A450E-E35E-4183-8019-16099FC84885}" type="sibTrans" cxnId="{30D3D947-34DE-45B6-8AFA-A579CA60EA95}">
      <dgm:prSet/>
      <dgm:spPr/>
      <dgm:t>
        <a:bodyPr/>
        <a:lstStyle/>
        <a:p>
          <a:endParaRPr lang="el-GR"/>
        </a:p>
      </dgm:t>
    </dgm:pt>
    <dgm:pt modelId="{6A0248B5-AC5C-4BF3-8579-23F612E04F5D}">
      <dgm:prSet custT="1"/>
      <dgm:spPr/>
      <dgm:t>
        <a:bodyPr/>
        <a:lstStyle/>
        <a:p>
          <a:pPr rtl="0"/>
          <a:r>
            <a:rPr kumimoji="0" lang="el-GR" sz="1600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8. Γενική / συνολική αξιολόγηση της παρεχόμενης φροντίδας </a:t>
          </a:r>
        </a:p>
      </dgm:t>
    </dgm:pt>
    <dgm:pt modelId="{66CF01A1-64F6-4E43-80BD-4F0FF371F588}" type="parTrans" cxnId="{B64929B2-5969-4CCA-917A-6F7FEADDB84F}">
      <dgm:prSet/>
      <dgm:spPr/>
      <dgm:t>
        <a:bodyPr/>
        <a:lstStyle/>
        <a:p>
          <a:endParaRPr lang="el-GR"/>
        </a:p>
      </dgm:t>
    </dgm:pt>
    <dgm:pt modelId="{014D12AE-A2A5-45F1-9A12-661BADF0657D}" type="sibTrans" cxnId="{B64929B2-5969-4CCA-917A-6F7FEADDB84F}">
      <dgm:prSet/>
      <dgm:spPr/>
      <dgm:t>
        <a:bodyPr/>
        <a:lstStyle/>
        <a:p>
          <a:endParaRPr lang="el-GR"/>
        </a:p>
      </dgm:t>
    </dgm:pt>
    <dgm:pt modelId="{AFCA06B9-E978-42E0-BB1D-AB8E646C0812}">
      <dgm:prSet custT="1"/>
      <dgm:spPr/>
      <dgm:t>
        <a:bodyPr/>
        <a:lstStyle/>
        <a:p>
          <a:pPr rtl="0"/>
          <a:r>
            <a:rPr kumimoji="0" lang="el-GR" sz="1600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7. Η γνώση ύπαρξης των Γ.Π.Δ.Λ.Υ.Υ. στα νοσοκομεία και η αποτελεσματικότητα εξυπηρέτησης</a:t>
          </a:r>
        </a:p>
        <a:p>
          <a:pPr rtl="0"/>
          <a:r>
            <a:rPr kumimoji="0" lang="el-GR" sz="1600" b="0" i="0" u="none" strike="noStrike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 </a:t>
          </a:r>
        </a:p>
      </dgm:t>
    </dgm:pt>
    <dgm:pt modelId="{0CE683CC-803A-4E02-93A5-CA1650C6DB17}" type="parTrans" cxnId="{3217CDBC-90D4-4E3D-8C52-35458800D9A1}">
      <dgm:prSet/>
      <dgm:spPr/>
      <dgm:t>
        <a:bodyPr/>
        <a:lstStyle/>
        <a:p>
          <a:endParaRPr lang="el-GR"/>
        </a:p>
      </dgm:t>
    </dgm:pt>
    <dgm:pt modelId="{EBC16C6E-F74E-4168-B271-D115805D1BB4}" type="sibTrans" cxnId="{3217CDBC-90D4-4E3D-8C52-35458800D9A1}">
      <dgm:prSet/>
      <dgm:spPr/>
      <dgm:t>
        <a:bodyPr/>
        <a:lstStyle/>
        <a:p>
          <a:endParaRPr lang="el-GR"/>
        </a:p>
      </dgm:t>
    </dgm:pt>
    <dgm:pt modelId="{454EB188-0D84-4324-85B8-1728D266D6E5}" type="pres">
      <dgm:prSet presAssocID="{94D6F3C4-0D11-475B-BA16-54DE32B3553E}" presName="vert0" presStyleCnt="0">
        <dgm:presLayoutVars>
          <dgm:dir/>
          <dgm:animOne val="branch"/>
          <dgm:animLvl val="lvl"/>
        </dgm:presLayoutVars>
      </dgm:prSet>
      <dgm:spPr/>
    </dgm:pt>
    <dgm:pt modelId="{FB09EF55-CA2F-45C3-A849-40BBF417F26C}" type="pres">
      <dgm:prSet presAssocID="{ABBA766E-6CCB-4442-8AF8-BF3EDE52C2B0}" presName="thickLine" presStyleLbl="alignNode1" presStyleIdx="0" presStyleCnt="1"/>
      <dgm:spPr/>
    </dgm:pt>
    <dgm:pt modelId="{1CF1CF00-209A-4B91-BDF6-6B6D01E87ED8}" type="pres">
      <dgm:prSet presAssocID="{ABBA766E-6CCB-4442-8AF8-BF3EDE52C2B0}" presName="horz1" presStyleCnt="0"/>
      <dgm:spPr/>
    </dgm:pt>
    <dgm:pt modelId="{9EC3E5BB-27AF-4865-840C-FD2764A19D56}" type="pres">
      <dgm:prSet presAssocID="{ABBA766E-6CCB-4442-8AF8-BF3EDE52C2B0}" presName="tx1" presStyleLbl="revTx" presStyleIdx="0" presStyleCnt="9" custScaleX="86997"/>
      <dgm:spPr/>
    </dgm:pt>
    <dgm:pt modelId="{76EA68C8-9ED1-4EAD-B960-1BE3FF9B436F}" type="pres">
      <dgm:prSet presAssocID="{ABBA766E-6CCB-4442-8AF8-BF3EDE52C2B0}" presName="vert1" presStyleCnt="0"/>
      <dgm:spPr/>
    </dgm:pt>
    <dgm:pt modelId="{67956360-655D-4276-9F17-0A45695A3D31}" type="pres">
      <dgm:prSet presAssocID="{CEB42ECD-FE74-4B63-9398-F960126208A8}" presName="vertSpace2a" presStyleCnt="0"/>
      <dgm:spPr/>
    </dgm:pt>
    <dgm:pt modelId="{EB49C27C-A1B4-43B9-9685-EB5BBBBA91E3}" type="pres">
      <dgm:prSet presAssocID="{CEB42ECD-FE74-4B63-9398-F960126208A8}" presName="horz2" presStyleCnt="0"/>
      <dgm:spPr/>
    </dgm:pt>
    <dgm:pt modelId="{34CFFD2C-DA0B-49D0-9FF0-14D76FB33441}" type="pres">
      <dgm:prSet presAssocID="{CEB42ECD-FE74-4B63-9398-F960126208A8}" presName="horzSpace2" presStyleCnt="0"/>
      <dgm:spPr/>
    </dgm:pt>
    <dgm:pt modelId="{6785C978-88F3-4954-ADCC-70D489BCDACE}" type="pres">
      <dgm:prSet presAssocID="{CEB42ECD-FE74-4B63-9398-F960126208A8}" presName="tx2" presStyleLbl="revTx" presStyleIdx="1" presStyleCnt="9"/>
      <dgm:spPr/>
    </dgm:pt>
    <dgm:pt modelId="{38AF881E-D29C-4DD2-A4F8-E49C67B7C9E6}" type="pres">
      <dgm:prSet presAssocID="{CEB42ECD-FE74-4B63-9398-F960126208A8}" presName="vert2" presStyleCnt="0"/>
      <dgm:spPr/>
    </dgm:pt>
    <dgm:pt modelId="{E821F97B-FB4B-4A7F-A4E4-8D47F0FA46AB}" type="pres">
      <dgm:prSet presAssocID="{CEB42ECD-FE74-4B63-9398-F960126208A8}" presName="thinLine2b" presStyleLbl="callout" presStyleIdx="0" presStyleCnt="8"/>
      <dgm:spPr/>
    </dgm:pt>
    <dgm:pt modelId="{03A390DC-2F52-42CC-9276-A57C2E05079F}" type="pres">
      <dgm:prSet presAssocID="{CEB42ECD-FE74-4B63-9398-F960126208A8}" presName="vertSpace2b" presStyleCnt="0"/>
      <dgm:spPr/>
    </dgm:pt>
    <dgm:pt modelId="{F52CEB2A-E0D4-4838-9D5E-116D05762F62}" type="pres">
      <dgm:prSet presAssocID="{B218E225-2BBE-40BA-A3F4-3CD9378ECD5F}" presName="horz2" presStyleCnt="0"/>
      <dgm:spPr/>
    </dgm:pt>
    <dgm:pt modelId="{3B7135EA-5956-47CE-8EFE-FEA94092C40D}" type="pres">
      <dgm:prSet presAssocID="{B218E225-2BBE-40BA-A3F4-3CD9378ECD5F}" presName="horzSpace2" presStyleCnt="0"/>
      <dgm:spPr/>
    </dgm:pt>
    <dgm:pt modelId="{1B00BD06-149D-4BB0-9EED-367660465D79}" type="pres">
      <dgm:prSet presAssocID="{B218E225-2BBE-40BA-A3F4-3CD9378ECD5F}" presName="tx2" presStyleLbl="revTx" presStyleIdx="2" presStyleCnt="9"/>
      <dgm:spPr/>
    </dgm:pt>
    <dgm:pt modelId="{BC191627-36E3-43B7-AAD5-EF9BB2D44670}" type="pres">
      <dgm:prSet presAssocID="{B218E225-2BBE-40BA-A3F4-3CD9378ECD5F}" presName="vert2" presStyleCnt="0"/>
      <dgm:spPr/>
    </dgm:pt>
    <dgm:pt modelId="{037BE064-1CBC-4EBE-BEAB-6931546372EE}" type="pres">
      <dgm:prSet presAssocID="{B218E225-2BBE-40BA-A3F4-3CD9378ECD5F}" presName="thinLine2b" presStyleLbl="callout" presStyleIdx="1" presStyleCnt="8"/>
      <dgm:spPr/>
    </dgm:pt>
    <dgm:pt modelId="{F7837752-E5C6-42AD-AFE1-3240F691FD84}" type="pres">
      <dgm:prSet presAssocID="{B218E225-2BBE-40BA-A3F4-3CD9378ECD5F}" presName="vertSpace2b" presStyleCnt="0"/>
      <dgm:spPr/>
    </dgm:pt>
    <dgm:pt modelId="{01159161-722A-4793-80FE-DA05C7BE11BD}" type="pres">
      <dgm:prSet presAssocID="{83D0921D-C2A2-4918-9E2D-14F3E6334944}" presName="horz2" presStyleCnt="0"/>
      <dgm:spPr/>
    </dgm:pt>
    <dgm:pt modelId="{6A623335-B29B-46A2-94EE-E3BB6917E702}" type="pres">
      <dgm:prSet presAssocID="{83D0921D-C2A2-4918-9E2D-14F3E6334944}" presName="horzSpace2" presStyleCnt="0"/>
      <dgm:spPr/>
    </dgm:pt>
    <dgm:pt modelId="{688252C4-6F79-4D76-B1DD-9ECD828DD333}" type="pres">
      <dgm:prSet presAssocID="{83D0921D-C2A2-4918-9E2D-14F3E6334944}" presName="tx2" presStyleLbl="revTx" presStyleIdx="3" presStyleCnt="9"/>
      <dgm:spPr/>
    </dgm:pt>
    <dgm:pt modelId="{CC53AF79-5D1C-4D19-99EA-4B2BB6761448}" type="pres">
      <dgm:prSet presAssocID="{83D0921D-C2A2-4918-9E2D-14F3E6334944}" presName="vert2" presStyleCnt="0"/>
      <dgm:spPr/>
    </dgm:pt>
    <dgm:pt modelId="{99F2AAF3-B5F7-4C58-A8B6-D5DDCAF93CDF}" type="pres">
      <dgm:prSet presAssocID="{83D0921D-C2A2-4918-9E2D-14F3E6334944}" presName="thinLine2b" presStyleLbl="callout" presStyleIdx="2" presStyleCnt="8"/>
      <dgm:spPr/>
    </dgm:pt>
    <dgm:pt modelId="{4CA4A023-A7CA-445C-8133-8E6BBC25A54E}" type="pres">
      <dgm:prSet presAssocID="{83D0921D-C2A2-4918-9E2D-14F3E6334944}" presName="vertSpace2b" presStyleCnt="0"/>
      <dgm:spPr/>
    </dgm:pt>
    <dgm:pt modelId="{CD7C13B5-1A47-4A49-8CAE-6D2D5F52B654}" type="pres">
      <dgm:prSet presAssocID="{6FD8960B-1F59-4B25-9B96-877288918ABA}" presName="horz2" presStyleCnt="0"/>
      <dgm:spPr/>
    </dgm:pt>
    <dgm:pt modelId="{7B361461-F108-42F0-B4D4-71C2A465DB34}" type="pres">
      <dgm:prSet presAssocID="{6FD8960B-1F59-4B25-9B96-877288918ABA}" presName="horzSpace2" presStyleCnt="0"/>
      <dgm:spPr/>
    </dgm:pt>
    <dgm:pt modelId="{BF7607B2-590F-4919-8DAD-D17E91B31F11}" type="pres">
      <dgm:prSet presAssocID="{6FD8960B-1F59-4B25-9B96-877288918ABA}" presName="tx2" presStyleLbl="revTx" presStyleIdx="4" presStyleCnt="9"/>
      <dgm:spPr/>
    </dgm:pt>
    <dgm:pt modelId="{5A64873F-7273-4171-AF31-FA285E8DD71E}" type="pres">
      <dgm:prSet presAssocID="{6FD8960B-1F59-4B25-9B96-877288918ABA}" presName="vert2" presStyleCnt="0"/>
      <dgm:spPr/>
    </dgm:pt>
    <dgm:pt modelId="{34C9A3CA-E9C0-4228-B138-494CE9DA25C2}" type="pres">
      <dgm:prSet presAssocID="{6FD8960B-1F59-4B25-9B96-877288918ABA}" presName="thinLine2b" presStyleLbl="callout" presStyleIdx="3" presStyleCnt="8"/>
      <dgm:spPr/>
    </dgm:pt>
    <dgm:pt modelId="{D70B8BB3-21AC-4D4A-A1F8-430C9C072049}" type="pres">
      <dgm:prSet presAssocID="{6FD8960B-1F59-4B25-9B96-877288918ABA}" presName="vertSpace2b" presStyleCnt="0"/>
      <dgm:spPr/>
    </dgm:pt>
    <dgm:pt modelId="{DC38C3A5-1822-477D-ABE9-37F774AAE0F0}" type="pres">
      <dgm:prSet presAssocID="{690E3F57-0355-40C0-9ABD-D170A98133E5}" presName="horz2" presStyleCnt="0"/>
      <dgm:spPr/>
    </dgm:pt>
    <dgm:pt modelId="{91EC7F06-281A-4211-859D-8DDAC4CDD7EA}" type="pres">
      <dgm:prSet presAssocID="{690E3F57-0355-40C0-9ABD-D170A98133E5}" presName="horzSpace2" presStyleCnt="0"/>
      <dgm:spPr/>
    </dgm:pt>
    <dgm:pt modelId="{8015D840-7EF3-4480-BC7F-72ECB4483A25}" type="pres">
      <dgm:prSet presAssocID="{690E3F57-0355-40C0-9ABD-D170A98133E5}" presName="tx2" presStyleLbl="revTx" presStyleIdx="5" presStyleCnt="9"/>
      <dgm:spPr/>
    </dgm:pt>
    <dgm:pt modelId="{31368ACE-15D7-437A-AE76-F651845B5A42}" type="pres">
      <dgm:prSet presAssocID="{690E3F57-0355-40C0-9ABD-D170A98133E5}" presName="vert2" presStyleCnt="0"/>
      <dgm:spPr/>
    </dgm:pt>
    <dgm:pt modelId="{43B640FE-85AC-4537-BB96-979A1D47B13C}" type="pres">
      <dgm:prSet presAssocID="{690E3F57-0355-40C0-9ABD-D170A98133E5}" presName="thinLine2b" presStyleLbl="callout" presStyleIdx="4" presStyleCnt="8"/>
      <dgm:spPr/>
    </dgm:pt>
    <dgm:pt modelId="{71DC120B-2CCE-4E37-9916-030C40414EF1}" type="pres">
      <dgm:prSet presAssocID="{690E3F57-0355-40C0-9ABD-D170A98133E5}" presName="vertSpace2b" presStyleCnt="0"/>
      <dgm:spPr/>
    </dgm:pt>
    <dgm:pt modelId="{78735AEA-7269-4D0A-9058-C3D62FB36460}" type="pres">
      <dgm:prSet presAssocID="{41231FCC-3F2E-473F-9D9C-2AD16B6C46F4}" presName="horz2" presStyleCnt="0"/>
      <dgm:spPr/>
    </dgm:pt>
    <dgm:pt modelId="{3BC1A1E7-8C34-4637-BACE-00D53E22F1AF}" type="pres">
      <dgm:prSet presAssocID="{41231FCC-3F2E-473F-9D9C-2AD16B6C46F4}" presName="horzSpace2" presStyleCnt="0"/>
      <dgm:spPr/>
    </dgm:pt>
    <dgm:pt modelId="{1E073640-4B4B-4469-8E5B-D3D456AEC1A2}" type="pres">
      <dgm:prSet presAssocID="{41231FCC-3F2E-473F-9D9C-2AD16B6C46F4}" presName="tx2" presStyleLbl="revTx" presStyleIdx="6" presStyleCnt="9"/>
      <dgm:spPr/>
    </dgm:pt>
    <dgm:pt modelId="{ECA6445E-05C0-4175-A0C8-82993C342757}" type="pres">
      <dgm:prSet presAssocID="{41231FCC-3F2E-473F-9D9C-2AD16B6C46F4}" presName="vert2" presStyleCnt="0"/>
      <dgm:spPr/>
    </dgm:pt>
    <dgm:pt modelId="{74635455-8C00-4FE1-B3A0-C682A5E4CD74}" type="pres">
      <dgm:prSet presAssocID="{41231FCC-3F2E-473F-9D9C-2AD16B6C46F4}" presName="thinLine2b" presStyleLbl="callout" presStyleIdx="5" presStyleCnt="8"/>
      <dgm:spPr/>
    </dgm:pt>
    <dgm:pt modelId="{15AFAC3B-6352-4D1A-B65F-B5EEF2805876}" type="pres">
      <dgm:prSet presAssocID="{41231FCC-3F2E-473F-9D9C-2AD16B6C46F4}" presName="vertSpace2b" presStyleCnt="0"/>
      <dgm:spPr/>
    </dgm:pt>
    <dgm:pt modelId="{B2717DD9-7239-4F9B-9F39-E1EFE469F5FA}" type="pres">
      <dgm:prSet presAssocID="{AFCA06B9-E978-42E0-BB1D-AB8E646C0812}" presName="horz2" presStyleCnt="0"/>
      <dgm:spPr/>
    </dgm:pt>
    <dgm:pt modelId="{86754ACC-DBE9-45F5-A7DF-7B82B078013A}" type="pres">
      <dgm:prSet presAssocID="{AFCA06B9-E978-42E0-BB1D-AB8E646C0812}" presName="horzSpace2" presStyleCnt="0"/>
      <dgm:spPr/>
    </dgm:pt>
    <dgm:pt modelId="{B779E872-2A72-44AE-B5E9-13B9E40D6236}" type="pres">
      <dgm:prSet presAssocID="{AFCA06B9-E978-42E0-BB1D-AB8E646C0812}" presName="tx2" presStyleLbl="revTx" presStyleIdx="7" presStyleCnt="9"/>
      <dgm:spPr/>
    </dgm:pt>
    <dgm:pt modelId="{E8F6A1B6-4AD1-4723-A022-94C10308738F}" type="pres">
      <dgm:prSet presAssocID="{AFCA06B9-E978-42E0-BB1D-AB8E646C0812}" presName="vert2" presStyleCnt="0"/>
      <dgm:spPr/>
    </dgm:pt>
    <dgm:pt modelId="{BCBA2B12-825E-4129-8147-CC22D3EF2C44}" type="pres">
      <dgm:prSet presAssocID="{AFCA06B9-E978-42E0-BB1D-AB8E646C0812}" presName="thinLine2b" presStyleLbl="callout" presStyleIdx="6" presStyleCnt="8"/>
      <dgm:spPr/>
    </dgm:pt>
    <dgm:pt modelId="{ECED8244-46FD-4DDB-A559-B44972D4D27B}" type="pres">
      <dgm:prSet presAssocID="{AFCA06B9-E978-42E0-BB1D-AB8E646C0812}" presName="vertSpace2b" presStyleCnt="0"/>
      <dgm:spPr/>
    </dgm:pt>
    <dgm:pt modelId="{6FB534F2-14FE-408B-A714-9F5E857306E3}" type="pres">
      <dgm:prSet presAssocID="{6A0248B5-AC5C-4BF3-8579-23F612E04F5D}" presName="horz2" presStyleCnt="0"/>
      <dgm:spPr/>
    </dgm:pt>
    <dgm:pt modelId="{27BAD8C2-5A97-448E-917D-D37CED539847}" type="pres">
      <dgm:prSet presAssocID="{6A0248B5-AC5C-4BF3-8579-23F612E04F5D}" presName="horzSpace2" presStyleCnt="0"/>
      <dgm:spPr/>
    </dgm:pt>
    <dgm:pt modelId="{8CCA2CE1-E030-4C15-8F58-4DB893B911BF}" type="pres">
      <dgm:prSet presAssocID="{6A0248B5-AC5C-4BF3-8579-23F612E04F5D}" presName="tx2" presStyleLbl="revTx" presStyleIdx="8" presStyleCnt="9"/>
      <dgm:spPr/>
    </dgm:pt>
    <dgm:pt modelId="{8E71F478-BE51-4E9D-8E52-4B51F8A2A7D9}" type="pres">
      <dgm:prSet presAssocID="{6A0248B5-AC5C-4BF3-8579-23F612E04F5D}" presName="vert2" presStyleCnt="0"/>
      <dgm:spPr/>
    </dgm:pt>
    <dgm:pt modelId="{C7EF50C5-840C-4364-B08E-30D7305D686E}" type="pres">
      <dgm:prSet presAssocID="{6A0248B5-AC5C-4BF3-8579-23F612E04F5D}" presName="thinLine2b" presStyleLbl="callout" presStyleIdx="7" presStyleCnt="8"/>
      <dgm:spPr/>
    </dgm:pt>
    <dgm:pt modelId="{A1EA2197-A0A5-4468-8046-7A77E72C2B4D}" type="pres">
      <dgm:prSet presAssocID="{6A0248B5-AC5C-4BF3-8579-23F612E04F5D}" presName="vertSpace2b" presStyleCnt="0"/>
      <dgm:spPr/>
    </dgm:pt>
  </dgm:ptLst>
  <dgm:cxnLst>
    <dgm:cxn modelId="{D9930033-BEE3-4EC6-8B6B-F060800C7DB7}" type="presOf" srcId="{CEB42ECD-FE74-4B63-9398-F960126208A8}" destId="{6785C978-88F3-4954-ADCC-70D489BCDACE}" srcOrd="0" destOrd="0" presId="urn:microsoft.com/office/officeart/2008/layout/LinedList"/>
    <dgm:cxn modelId="{AC89F437-A239-437C-896E-58A68141ACB1}" type="presOf" srcId="{B218E225-2BBE-40BA-A3F4-3CD9378ECD5F}" destId="{1B00BD06-149D-4BB0-9EED-367660465D79}" srcOrd="0" destOrd="0" presId="urn:microsoft.com/office/officeart/2008/layout/LinedList"/>
    <dgm:cxn modelId="{B2835C60-509A-4EB9-B739-C39E5896E523}" type="presOf" srcId="{6A0248B5-AC5C-4BF3-8579-23F612E04F5D}" destId="{8CCA2CE1-E030-4C15-8F58-4DB893B911BF}" srcOrd="0" destOrd="0" presId="urn:microsoft.com/office/officeart/2008/layout/LinedList"/>
    <dgm:cxn modelId="{57B70C41-9986-44FF-8C2F-3119C1D57A8A}" type="presOf" srcId="{690E3F57-0355-40C0-9ABD-D170A98133E5}" destId="{8015D840-7EF3-4480-BC7F-72ECB4483A25}" srcOrd="0" destOrd="0" presId="urn:microsoft.com/office/officeart/2008/layout/LinedList"/>
    <dgm:cxn modelId="{30D3D947-34DE-45B6-8AFA-A579CA60EA95}" srcId="{ABBA766E-6CCB-4442-8AF8-BF3EDE52C2B0}" destId="{41231FCC-3F2E-473F-9D9C-2AD16B6C46F4}" srcOrd="5" destOrd="0" parTransId="{D9D2F284-E5E1-420E-80E2-EB5737B38581}" sibTransId="{119A450E-E35E-4183-8019-16099FC84885}"/>
    <dgm:cxn modelId="{E23D5F68-1A1B-4D42-AF79-D0389BCE845B}" srcId="{ABBA766E-6CCB-4442-8AF8-BF3EDE52C2B0}" destId="{6FD8960B-1F59-4B25-9B96-877288918ABA}" srcOrd="3" destOrd="0" parTransId="{4ADF2962-0FB2-4B23-99EF-F995D150C222}" sibTransId="{AB9FB766-417F-474B-8D62-17F9671533BE}"/>
    <dgm:cxn modelId="{072D0D5A-241C-4082-99FA-C8F8E09F7DCE}" type="presOf" srcId="{ABBA766E-6CCB-4442-8AF8-BF3EDE52C2B0}" destId="{9EC3E5BB-27AF-4865-840C-FD2764A19D56}" srcOrd="0" destOrd="0" presId="urn:microsoft.com/office/officeart/2008/layout/LinedList"/>
    <dgm:cxn modelId="{40626B87-BAD7-45F6-96F2-20D15219AC21}" srcId="{ABBA766E-6CCB-4442-8AF8-BF3EDE52C2B0}" destId="{690E3F57-0355-40C0-9ABD-D170A98133E5}" srcOrd="4" destOrd="0" parTransId="{2527AD22-D3B0-4784-9E6E-D34FCBCA8758}" sibTransId="{E6719309-465B-4B04-89B3-992C8EACFE38}"/>
    <dgm:cxn modelId="{47A8F189-3028-4EDC-9B2C-93E578A1681C}" srcId="{ABBA766E-6CCB-4442-8AF8-BF3EDE52C2B0}" destId="{B218E225-2BBE-40BA-A3F4-3CD9378ECD5F}" srcOrd="1" destOrd="0" parTransId="{3BF409E1-AC20-4777-ACA1-059EB8A69CFD}" sibTransId="{4A8C1D2C-CF0A-4B59-A958-6B3D18E58415}"/>
    <dgm:cxn modelId="{987A0595-B5D0-4C7E-BA57-FD2CEB9B50F5}" type="presOf" srcId="{94D6F3C4-0D11-475B-BA16-54DE32B3553E}" destId="{454EB188-0D84-4324-85B8-1728D266D6E5}" srcOrd="0" destOrd="0" presId="urn:microsoft.com/office/officeart/2008/layout/LinedList"/>
    <dgm:cxn modelId="{DC50E999-7D94-451B-B0BE-7B2F12C5A4FC}" srcId="{ABBA766E-6CCB-4442-8AF8-BF3EDE52C2B0}" destId="{CEB42ECD-FE74-4B63-9398-F960126208A8}" srcOrd="0" destOrd="0" parTransId="{5670F58B-ED6B-4D25-94E0-9183B620B50E}" sibTransId="{1C0A541F-8759-4F8F-8433-F166F7B469B1}"/>
    <dgm:cxn modelId="{B64929B2-5969-4CCA-917A-6F7FEADDB84F}" srcId="{ABBA766E-6CCB-4442-8AF8-BF3EDE52C2B0}" destId="{6A0248B5-AC5C-4BF3-8579-23F612E04F5D}" srcOrd="7" destOrd="0" parTransId="{66CF01A1-64F6-4E43-80BD-4F0FF371F588}" sibTransId="{014D12AE-A2A5-45F1-9A12-661BADF0657D}"/>
    <dgm:cxn modelId="{3217CDBC-90D4-4E3D-8C52-35458800D9A1}" srcId="{ABBA766E-6CCB-4442-8AF8-BF3EDE52C2B0}" destId="{AFCA06B9-E978-42E0-BB1D-AB8E646C0812}" srcOrd="6" destOrd="0" parTransId="{0CE683CC-803A-4E02-93A5-CA1650C6DB17}" sibTransId="{EBC16C6E-F74E-4168-B271-D115805D1BB4}"/>
    <dgm:cxn modelId="{91AABEBE-74E6-4995-9FD7-F8648021C564}" type="presOf" srcId="{6FD8960B-1F59-4B25-9B96-877288918ABA}" destId="{BF7607B2-590F-4919-8DAD-D17E91B31F11}" srcOrd="0" destOrd="0" presId="urn:microsoft.com/office/officeart/2008/layout/LinedList"/>
    <dgm:cxn modelId="{D1026FC7-387E-45C1-84BD-BB791F60E50A}" type="presOf" srcId="{AFCA06B9-E978-42E0-BB1D-AB8E646C0812}" destId="{B779E872-2A72-44AE-B5E9-13B9E40D6236}" srcOrd="0" destOrd="0" presId="urn:microsoft.com/office/officeart/2008/layout/LinedList"/>
    <dgm:cxn modelId="{CB4B10CE-D7AA-4EAF-ABB8-46A800C5DE60}" type="presOf" srcId="{41231FCC-3F2E-473F-9D9C-2AD16B6C46F4}" destId="{1E073640-4B4B-4469-8E5B-D3D456AEC1A2}" srcOrd="0" destOrd="0" presId="urn:microsoft.com/office/officeart/2008/layout/LinedList"/>
    <dgm:cxn modelId="{037AB2D5-0F46-4BD7-A891-197AA2B42F21}" srcId="{94D6F3C4-0D11-475B-BA16-54DE32B3553E}" destId="{ABBA766E-6CCB-4442-8AF8-BF3EDE52C2B0}" srcOrd="0" destOrd="0" parTransId="{FD654782-2104-4D90-86AB-544225708C36}" sibTransId="{644BA932-165E-4C7D-BA70-80AADB347395}"/>
    <dgm:cxn modelId="{14CA5CEB-B451-451A-8861-0461F4C99871}" type="presOf" srcId="{83D0921D-C2A2-4918-9E2D-14F3E6334944}" destId="{688252C4-6F79-4D76-B1DD-9ECD828DD333}" srcOrd="0" destOrd="0" presId="urn:microsoft.com/office/officeart/2008/layout/LinedList"/>
    <dgm:cxn modelId="{77766EFB-BFCC-4057-A645-5CD78AEA0B22}" srcId="{ABBA766E-6CCB-4442-8AF8-BF3EDE52C2B0}" destId="{83D0921D-C2A2-4918-9E2D-14F3E6334944}" srcOrd="2" destOrd="0" parTransId="{18D692F4-F589-4020-B752-8C86C7485E62}" sibTransId="{DF5C0A68-E880-443D-9028-5D5F599F97D7}"/>
    <dgm:cxn modelId="{314E0C06-F7EB-433A-A8AD-5A0BCD2FFE35}" type="presParOf" srcId="{454EB188-0D84-4324-85B8-1728D266D6E5}" destId="{FB09EF55-CA2F-45C3-A849-40BBF417F26C}" srcOrd="0" destOrd="0" presId="urn:microsoft.com/office/officeart/2008/layout/LinedList"/>
    <dgm:cxn modelId="{0F7BD30A-2322-47BE-9FF8-A19780E92FF6}" type="presParOf" srcId="{454EB188-0D84-4324-85B8-1728D266D6E5}" destId="{1CF1CF00-209A-4B91-BDF6-6B6D01E87ED8}" srcOrd="1" destOrd="0" presId="urn:microsoft.com/office/officeart/2008/layout/LinedList"/>
    <dgm:cxn modelId="{7EFCF4D8-8856-43D7-A071-AB2CFFC47EFD}" type="presParOf" srcId="{1CF1CF00-209A-4B91-BDF6-6B6D01E87ED8}" destId="{9EC3E5BB-27AF-4865-840C-FD2764A19D56}" srcOrd="0" destOrd="0" presId="urn:microsoft.com/office/officeart/2008/layout/LinedList"/>
    <dgm:cxn modelId="{729255AB-9AA7-4BEF-A3B9-959662C9592A}" type="presParOf" srcId="{1CF1CF00-209A-4B91-BDF6-6B6D01E87ED8}" destId="{76EA68C8-9ED1-4EAD-B960-1BE3FF9B436F}" srcOrd="1" destOrd="0" presId="urn:microsoft.com/office/officeart/2008/layout/LinedList"/>
    <dgm:cxn modelId="{F1272B4C-799B-49CA-9191-7DA4927E49AC}" type="presParOf" srcId="{76EA68C8-9ED1-4EAD-B960-1BE3FF9B436F}" destId="{67956360-655D-4276-9F17-0A45695A3D31}" srcOrd="0" destOrd="0" presId="urn:microsoft.com/office/officeart/2008/layout/LinedList"/>
    <dgm:cxn modelId="{A0BC80A6-2E41-49D2-97D4-137F53A704A1}" type="presParOf" srcId="{76EA68C8-9ED1-4EAD-B960-1BE3FF9B436F}" destId="{EB49C27C-A1B4-43B9-9685-EB5BBBBA91E3}" srcOrd="1" destOrd="0" presId="urn:microsoft.com/office/officeart/2008/layout/LinedList"/>
    <dgm:cxn modelId="{6BD7390C-D2D8-4C7D-8F0C-852DE079B871}" type="presParOf" srcId="{EB49C27C-A1B4-43B9-9685-EB5BBBBA91E3}" destId="{34CFFD2C-DA0B-49D0-9FF0-14D76FB33441}" srcOrd="0" destOrd="0" presId="urn:microsoft.com/office/officeart/2008/layout/LinedList"/>
    <dgm:cxn modelId="{E5F59093-B191-4DBE-85DB-7FF4A1EEDB13}" type="presParOf" srcId="{EB49C27C-A1B4-43B9-9685-EB5BBBBA91E3}" destId="{6785C978-88F3-4954-ADCC-70D489BCDACE}" srcOrd="1" destOrd="0" presId="urn:microsoft.com/office/officeart/2008/layout/LinedList"/>
    <dgm:cxn modelId="{4655C7CD-CCFD-43F0-A263-C7964E2D3EE7}" type="presParOf" srcId="{EB49C27C-A1B4-43B9-9685-EB5BBBBA91E3}" destId="{38AF881E-D29C-4DD2-A4F8-E49C67B7C9E6}" srcOrd="2" destOrd="0" presId="urn:microsoft.com/office/officeart/2008/layout/LinedList"/>
    <dgm:cxn modelId="{F7F9B977-8DB7-4898-B240-F85904E1259E}" type="presParOf" srcId="{76EA68C8-9ED1-4EAD-B960-1BE3FF9B436F}" destId="{E821F97B-FB4B-4A7F-A4E4-8D47F0FA46AB}" srcOrd="2" destOrd="0" presId="urn:microsoft.com/office/officeart/2008/layout/LinedList"/>
    <dgm:cxn modelId="{3B509B8C-04E7-41CE-90D0-45D840374AB5}" type="presParOf" srcId="{76EA68C8-9ED1-4EAD-B960-1BE3FF9B436F}" destId="{03A390DC-2F52-42CC-9276-A57C2E05079F}" srcOrd="3" destOrd="0" presId="urn:microsoft.com/office/officeart/2008/layout/LinedList"/>
    <dgm:cxn modelId="{0CA54848-B055-44BC-BD3F-873CF1E347AC}" type="presParOf" srcId="{76EA68C8-9ED1-4EAD-B960-1BE3FF9B436F}" destId="{F52CEB2A-E0D4-4838-9D5E-116D05762F62}" srcOrd="4" destOrd="0" presId="urn:microsoft.com/office/officeart/2008/layout/LinedList"/>
    <dgm:cxn modelId="{79E84767-1E43-4097-9C79-AD5F5CA0B3F7}" type="presParOf" srcId="{F52CEB2A-E0D4-4838-9D5E-116D05762F62}" destId="{3B7135EA-5956-47CE-8EFE-FEA94092C40D}" srcOrd="0" destOrd="0" presId="urn:microsoft.com/office/officeart/2008/layout/LinedList"/>
    <dgm:cxn modelId="{AD25DBE7-6D0B-421A-B9EA-74F8047E264D}" type="presParOf" srcId="{F52CEB2A-E0D4-4838-9D5E-116D05762F62}" destId="{1B00BD06-149D-4BB0-9EED-367660465D79}" srcOrd="1" destOrd="0" presId="urn:microsoft.com/office/officeart/2008/layout/LinedList"/>
    <dgm:cxn modelId="{E2DAB005-94C2-4CBA-A431-65BE2BDA625D}" type="presParOf" srcId="{F52CEB2A-E0D4-4838-9D5E-116D05762F62}" destId="{BC191627-36E3-43B7-AAD5-EF9BB2D44670}" srcOrd="2" destOrd="0" presId="urn:microsoft.com/office/officeart/2008/layout/LinedList"/>
    <dgm:cxn modelId="{FDECB36F-D3DB-4A4B-9034-9643F4A38373}" type="presParOf" srcId="{76EA68C8-9ED1-4EAD-B960-1BE3FF9B436F}" destId="{037BE064-1CBC-4EBE-BEAB-6931546372EE}" srcOrd="5" destOrd="0" presId="urn:microsoft.com/office/officeart/2008/layout/LinedList"/>
    <dgm:cxn modelId="{75D99C72-9549-47C7-957E-40EF2789DF0B}" type="presParOf" srcId="{76EA68C8-9ED1-4EAD-B960-1BE3FF9B436F}" destId="{F7837752-E5C6-42AD-AFE1-3240F691FD84}" srcOrd="6" destOrd="0" presId="urn:microsoft.com/office/officeart/2008/layout/LinedList"/>
    <dgm:cxn modelId="{C5823932-5CDC-4719-87F9-BBB34E59D104}" type="presParOf" srcId="{76EA68C8-9ED1-4EAD-B960-1BE3FF9B436F}" destId="{01159161-722A-4793-80FE-DA05C7BE11BD}" srcOrd="7" destOrd="0" presId="urn:microsoft.com/office/officeart/2008/layout/LinedList"/>
    <dgm:cxn modelId="{609A3849-ADAC-43E8-85C8-A6709BE4019F}" type="presParOf" srcId="{01159161-722A-4793-80FE-DA05C7BE11BD}" destId="{6A623335-B29B-46A2-94EE-E3BB6917E702}" srcOrd="0" destOrd="0" presId="urn:microsoft.com/office/officeart/2008/layout/LinedList"/>
    <dgm:cxn modelId="{C6D2AF5B-2F06-441B-ACC8-4733D1E041A7}" type="presParOf" srcId="{01159161-722A-4793-80FE-DA05C7BE11BD}" destId="{688252C4-6F79-4D76-B1DD-9ECD828DD333}" srcOrd="1" destOrd="0" presId="urn:microsoft.com/office/officeart/2008/layout/LinedList"/>
    <dgm:cxn modelId="{00E0283B-5C04-4C79-809C-DC448C41785A}" type="presParOf" srcId="{01159161-722A-4793-80FE-DA05C7BE11BD}" destId="{CC53AF79-5D1C-4D19-99EA-4B2BB6761448}" srcOrd="2" destOrd="0" presId="urn:microsoft.com/office/officeart/2008/layout/LinedList"/>
    <dgm:cxn modelId="{35BF961B-507E-4112-81EC-7176A6E125CE}" type="presParOf" srcId="{76EA68C8-9ED1-4EAD-B960-1BE3FF9B436F}" destId="{99F2AAF3-B5F7-4C58-A8B6-D5DDCAF93CDF}" srcOrd="8" destOrd="0" presId="urn:microsoft.com/office/officeart/2008/layout/LinedList"/>
    <dgm:cxn modelId="{6B8FF976-2B18-432D-848B-99AA7F7E0706}" type="presParOf" srcId="{76EA68C8-9ED1-4EAD-B960-1BE3FF9B436F}" destId="{4CA4A023-A7CA-445C-8133-8E6BBC25A54E}" srcOrd="9" destOrd="0" presId="urn:microsoft.com/office/officeart/2008/layout/LinedList"/>
    <dgm:cxn modelId="{1E0174E5-5142-414A-8A27-F934E629B552}" type="presParOf" srcId="{76EA68C8-9ED1-4EAD-B960-1BE3FF9B436F}" destId="{CD7C13B5-1A47-4A49-8CAE-6D2D5F52B654}" srcOrd="10" destOrd="0" presId="urn:microsoft.com/office/officeart/2008/layout/LinedList"/>
    <dgm:cxn modelId="{CC8C176D-AE71-42AE-A69B-2B12905E01D7}" type="presParOf" srcId="{CD7C13B5-1A47-4A49-8CAE-6D2D5F52B654}" destId="{7B361461-F108-42F0-B4D4-71C2A465DB34}" srcOrd="0" destOrd="0" presId="urn:microsoft.com/office/officeart/2008/layout/LinedList"/>
    <dgm:cxn modelId="{C438282E-0A53-4A82-BEB3-1BF5C2208C58}" type="presParOf" srcId="{CD7C13B5-1A47-4A49-8CAE-6D2D5F52B654}" destId="{BF7607B2-590F-4919-8DAD-D17E91B31F11}" srcOrd="1" destOrd="0" presId="urn:microsoft.com/office/officeart/2008/layout/LinedList"/>
    <dgm:cxn modelId="{B4AC0C68-211E-47D6-831E-436817471534}" type="presParOf" srcId="{CD7C13B5-1A47-4A49-8CAE-6D2D5F52B654}" destId="{5A64873F-7273-4171-AF31-FA285E8DD71E}" srcOrd="2" destOrd="0" presId="urn:microsoft.com/office/officeart/2008/layout/LinedList"/>
    <dgm:cxn modelId="{F6044D6E-D637-48AC-B896-AF5CBB31475A}" type="presParOf" srcId="{76EA68C8-9ED1-4EAD-B960-1BE3FF9B436F}" destId="{34C9A3CA-E9C0-4228-B138-494CE9DA25C2}" srcOrd="11" destOrd="0" presId="urn:microsoft.com/office/officeart/2008/layout/LinedList"/>
    <dgm:cxn modelId="{9CD71F1D-5B08-499B-85FC-274A7BAF98B4}" type="presParOf" srcId="{76EA68C8-9ED1-4EAD-B960-1BE3FF9B436F}" destId="{D70B8BB3-21AC-4D4A-A1F8-430C9C072049}" srcOrd="12" destOrd="0" presId="urn:microsoft.com/office/officeart/2008/layout/LinedList"/>
    <dgm:cxn modelId="{680D8023-91C3-40EA-AB2A-4622CBA4A02E}" type="presParOf" srcId="{76EA68C8-9ED1-4EAD-B960-1BE3FF9B436F}" destId="{DC38C3A5-1822-477D-ABE9-37F774AAE0F0}" srcOrd="13" destOrd="0" presId="urn:microsoft.com/office/officeart/2008/layout/LinedList"/>
    <dgm:cxn modelId="{23525271-3EC9-420A-962F-B9823C4212BF}" type="presParOf" srcId="{DC38C3A5-1822-477D-ABE9-37F774AAE0F0}" destId="{91EC7F06-281A-4211-859D-8DDAC4CDD7EA}" srcOrd="0" destOrd="0" presId="urn:microsoft.com/office/officeart/2008/layout/LinedList"/>
    <dgm:cxn modelId="{1FF25C0A-8506-48E0-899B-986ABCA28FF2}" type="presParOf" srcId="{DC38C3A5-1822-477D-ABE9-37F774AAE0F0}" destId="{8015D840-7EF3-4480-BC7F-72ECB4483A25}" srcOrd="1" destOrd="0" presId="urn:microsoft.com/office/officeart/2008/layout/LinedList"/>
    <dgm:cxn modelId="{92CB2493-F73B-44F2-992F-A869002C82BF}" type="presParOf" srcId="{DC38C3A5-1822-477D-ABE9-37F774AAE0F0}" destId="{31368ACE-15D7-437A-AE76-F651845B5A42}" srcOrd="2" destOrd="0" presId="urn:microsoft.com/office/officeart/2008/layout/LinedList"/>
    <dgm:cxn modelId="{C2451B2B-8CC7-48EA-9BCC-1C9F0CD5707A}" type="presParOf" srcId="{76EA68C8-9ED1-4EAD-B960-1BE3FF9B436F}" destId="{43B640FE-85AC-4537-BB96-979A1D47B13C}" srcOrd="14" destOrd="0" presId="urn:microsoft.com/office/officeart/2008/layout/LinedList"/>
    <dgm:cxn modelId="{347C143A-3DEC-4332-BD07-1BE8C9537FAC}" type="presParOf" srcId="{76EA68C8-9ED1-4EAD-B960-1BE3FF9B436F}" destId="{71DC120B-2CCE-4E37-9916-030C40414EF1}" srcOrd="15" destOrd="0" presId="urn:microsoft.com/office/officeart/2008/layout/LinedList"/>
    <dgm:cxn modelId="{5E0E4993-9AC8-436A-821E-7362AE95FA8D}" type="presParOf" srcId="{76EA68C8-9ED1-4EAD-B960-1BE3FF9B436F}" destId="{78735AEA-7269-4D0A-9058-C3D62FB36460}" srcOrd="16" destOrd="0" presId="urn:microsoft.com/office/officeart/2008/layout/LinedList"/>
    <dgm:cxn modelId="{B44E20FD-3F66-42B3-B9A5-D90C2F7DDD44}" type="presParOf" srcId="{78735AEA-7269-4D0A-9058-C3D62FB36460}" destId="{3BC1A1E7-8C34-4637-BACE-00D53E22F1AF}" srcOrd="0" destOrd="0" presId="urn:microsoft.com/office/officeart/2008/layout/LinedList"/>
    <dgm:cxn modelId="{6EC65EB8-EB28-4DA1-AFA7-D054A46426FA}" type="presParOf" srcId="{78735AEA-7269-4D0A-9058-C3D62FB36460}" destId="{1E073640-4B4B-4469-8E5B-D3D456AEC1A2}" srcOrd="1" destOrd="0" presId="urn:microsoft.com/office/officeart/2008/layout/LinedList"/>
    <dgm:cxn modelId="{E1393B53-2E30-47EC-A48A-405C3131CF71}" type="presParOf" srcId="{78735AEA-7269-4D0A-9058-C3D62FB36460}" destId="{ECA6445E-05C0-4175-A0C8-82993C342757}" srcOrd="2" destOrd="0" presId="urn:microsoft.com/office/officeart/2008/layout/LinedList"/>
    <dgm:cxn modelId="{591F4A87-E54C-44B6-8DD0-3428CC2DDFEA}" type="presParOf" srcId="{76EA68C8-9ED1-4EAD-B960-1BE3FF9B436F}" destId="{74635455-8C00-4FE1-B3A0-C682A5E4CD74}" srcOrd="17" destOrd="0" presId="urn:microsoft.com/office/officeart/2008/layout/LinedList"/>
    <dgm:cxn modelId="{94442BD7-EF24-460B-8B3F-53BE2249004A}" type="presParOf" srcId="{76EA68C8-9ED1-4EAD-B960-1BE3FF9B436F}" destId="{15AFAC3B-6352-4D1A-B65F-B5EEF2805876}" srcOrd="18" destOrd="0" presId="urn:microsoft.com/office/officeart/2008/layout/LinedList"/>
    <dgm:cxn modelId="{349DA17D-BA83-41C2-B170-8F3C56F13F9A}" type="presParOf" srcId="{76EA68C8-9ED1-4EAD-B960-1BE3FF9B436F}" destId="{B2717DD9-7239-4F9B-9F39-E1EFE469F5FA}" srcOrd="19" destOrd="0" presId="urn:microsoft.com/office/officeart/2008/layout/LinedList"/>
    <dgm:cxn modelId="{E6323913-ABA9-4C3A-BC50-067FE37AA033}" type="presParOf" srcId="{B2717DD9-7239-4F9B-9F39-E1EFE469F5FA}" destId="{86754ACC-DBE9-45F5-A7DF-7B82B078013A}" srcOrd="0" destOrd="0" presId="urn:microsoft.com/office/officeart/2008/layout/LinedList"/>
    <dgm:cxn modelId="{15DF70DD-1DBE-42A4-907D-83BEAB175324}" type="presParOf" srcId="{B2717DD9-7239-4F9B-9F39-E1EFE469F5FA}" destId="{B779E872-2A72-44AE-B5E9-13B9E40D6236}" srcOrd="1" destOrd="0" presId="urn:microsoft.com/office/officeart/2008/layout/LinedList"/>
    <dgm:cxn modelId="{BE33E64A-4E3A-4F04-84D2-D2006A964F24}" type="presParOf" srcId="{B2717DD9-7239-4F9B-9F39-E1EFE469F5FA}" destId="{E8F6A1B6-4AD1-4723-A022-94C10308738F}" srcOrd="2" destOrd="0" presId="urn:microsoft.com/office/officeart/2008/layout/LinedList"/>
    <dgm:cxn modelId="{9EA0D4FA-04DB-4AA1-8436-8A3ADAD9FECB}" type="presParOf" srcId="{76EA68C8-9ED1-4EAD-B960-1BE3FF9B436F}" destId="{BCBA2B12-825E-4129-8147-CC22D3EF2C44}" srcOrd="20" destOrd="0" presId="urn:microsoft.com/office/officeart/2008/layout/LinedList"/>
    <dgm:cxn modelId="{7BD044B0-4AC2-423C-875A-8579D458F8A9}" type="presParOf" srcId="{76EA68C8-9ED1-4EAD-B960-1BE3FF9B436F}" destId="{ECED8244-46FD-4DDB-A559-B44972D4D27B}" srcOrd="21" destOrd="0" presId="urn:microsoft.com/office/officeart/2008/layout/LinedList"/>
    <dgm:cxn modelId="{EEEB022D-B62F-42B1-8113-7A6015080002}" type="presParOf" srcId="{76EA68C8-9ED1-4EAD-B960-1BE3FF9B436F}" destId="{6FB534F2-14FE-408B-A714-9F5E857306E3}" srcOrd="22" destOrd="0" presId="urn:microsoft.com/office/officeart/2008/layout/LinedList"/>
    <dgm:cxn modelId="{E69740D5-8266-4A4E-9F40-AD6BE7DCCD63}" type="presParOf" srcId="{6FB534F2-14FE-408B-A714-9F5E857306E3}" destId="{27BAD8C2-5A97-448E-917D-D37CED539847}" srcOrd="0" destOrd="0" presId="urn:microsoft.com/office/officeart/2008/layout/LinedList"/>
    <dgm:cxn modelId="{784F26FB-0A4E-4F19-91CD-E48E92A30093}" type="presParOf" srcId="{6FB534F2-14FE-408B-A714-9F5E857306E3}" destId="{8CCA2CE1-E030-4C15-8F58-4DB893B911BF}" srcOrd="1" destOrd="0" presId="urn:microsoft.com/office/officeart/2008/layout/LinedList"/>
    <dgm:cxn modelId="{40988E15-9733-427B-B98C-0DE2854EF32C}" type="presParOf" srcId="{6FB534F2-14FE-408B-A714-9F5E857306E3}" destId="{8E71F478-BE51-4E9D-8E52-4B51F8A2A7D9}" srcOrd="2" destOrd="0" presId="urn:microsoft.com/office/officeart/2008/layout/LinedList"/>
    <dgm:cxn modelId="{16EA8FDC-E4E0-413B-99A0-AAC03C97F3D7}" type="presParOf" srcId="{76EA68C8-9ED1-4EAD-B960-1BE3FF9B436F}" destId="{C7EF50C5-840C-4364-B08E-30D7305D686E}" srcOrd="23" destOrd="0" presId="urn:microsoft.com/office/officeart/2008/layout/LinedList"/>
    <dgm:cxn modelId="{0FC63891-B6F5-4E4A-90E6-97BE8F74EF71}" type="presParOf" srcId="{76EA68C8-9ED1-4EAD-B960-1BE3FF9B436F}" destId="{A1EA2197-A0A5-4468-8046-7A77E72C2B4D}" srcOrd="24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2B97B4D-7B25-4C72-9379-A959D04F4125}" type="doc">
      <dgm:prSet loTypeId="urn:microsoft.com/office/officeart/2005/8/layout/bProcess3" loCatId="process" qsTypeId="urn:microsoft.com/office/officeart/2005/8/quickstyle/simple1" qsCatId="simple" csTypeId="urn:microsoft.com/office/officeart/2005/8/colors/accent0_3" csCatId="mainScheme" phldr="1"/>
      <dgm:spPr/>
    </dgm:pt>
    <dgm:pt modelId="{7632BCB5-27CD-42F1-88DB-00FD194A9759}">
      <dgm:prSet phldrT="[Κείμενο]" custT="1"/>
      <dgm:spPr/>
      <dgm:t>
        <a:bodyPr spcFirstLastPara="0" vert="horz" wrap="square" lIns="72390" tIns="72390" rIns="72390" bIns="72390" numCol="1" spcCol="1270" anchor="ctr" anchorCtr="0"/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Εξιτήριο</a:t>
          </a:r>
        </a:p>
      </dgm:t>
    </dgm:pt>
    <dgm:pt modelId="{BA0EB6C5-1CA8-4436-88D2-3ED43253FC3E}" type="parTrans" cxnId="{D84E26D6-6DC0-45E1-8CED-DD4ACC3EAB53}">
      <dgm:prSet/>
      <dgm:spPr/>
      <dgm:t>
        <a:bodyPr/>
        <a:lstStyle/>
        <a:p>
          <a:pPr algn="ctr"/>
          <a:endParaRPr lang="el-GR"/>
        </a:p>
      </dgm:t>
    </dgm:pt>
    <dgm:pt modelId="{877A5BA0-A2E9-4E79-A4CD-95FBF953C7E9}" type="sibTrans" cxnId="{D84E26D6-6DC0-45E1-8CED-DD4ACC3EAB53}">
      <dgm:prSet/>
      <dgm:spPr/>
      <dgm:t>
        <a:bodyPr/>
        <a:lstStyle/>
        <a:p>
          <a:pPr algn="ctr"/>
          <a:endParaRPr lang="el-GR"/>
        </a:p>
      </dgm:t>
    </dgm:pt>
    <dgm:pt modelId="{24075129-6AF5-4830-B696-CC5644986C3C}">
      <dgm:prSet phldrT="[Κείμενο]" custT="1"/>
      <dgm:spPr/>
      <dgm:t>
        <a:bodyPr spcFirstLastPara="0" vert="horz" wrap="square" lIns="72390" tIns="72390" rIns="72390" bIns="72390" numCol="1" spcCol="1270" anchor="ctr" anchorCtr="0"/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Δεδομένα από την ΗΔΙΚΑ                         (αριθμός κινητού τηλεφώνου)</a:t>
          </a:r>
        </a:p>
      </dgm:t>
    </dgm:pt>
    <dgm:pt modelId="{57EE3B8C-77D7-4774-8C63-1DCAF6D4EFED}" type="parTrans" cxnId="{5E9C29B9-CB4F-40FC-A79D-81C42C8CBB49}">
      <dgm:prSet/>
      <dgm:spPr/>
      <dgm:t>
        <a:bodyPr/>
        <a:lstStyle/>
        <a:p>
          <a:pPr algn="ctr"/>
          <a:endParaRPr lang="el-GR"/>
        </a:p>
      </dgm:t>
    </dgm:pt>
    <dgm:pt modelId="{BB574E04-B680-4249-81DB-F362163F546F}" type="sibTrans" cxnId="{5E9C29B9-CB4F-40FC-A79D-81C42C8CBB49}">
      <dgm:prSet/>
      <dgm:spPr/>
      <dgm:t>
        <a:bodyPr/>
        <a:lstStyle/>
        <a:p>
          <a:pPr algn="ctr"/>
          <a:endParaRPr lang="el-GR"/>
        </a:p>
      </dgm:t>
    </dgm:pt>
    <dgm:pt modelId="{AEE9D1EB-7D16-4340-97B9-95FD743AB0E3}">
      <dgm:prSet phldrT="[Κείμενο]" custT="1"/>
      <dgm:spPr/>
      <dgm:t>
        <a:bodyPr spcFirstLastPara="0" vert="horz" wrap="square" lIns="72390" tIns="72390" rIns="72390" bIns="72390" numCol="1" spcCol="1270" anchor="ctr" anchorCtr="0"/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Δημιουργία            </a:t>
          </a:r>
          <a:r>
            <a:rPr lang="el-GR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μοναδικού συνδέσμου            </a:t>
          </a:r>
          <a:r>
            <a:rPr lang="el-GR" sz="1400" b="0" kern="12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(</a:t>
          </a:r>
          <a:r>
            <a:rPr lang="en-US" sz="1400" b="0" kern="12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URL link</a:t>
          </a:r>
          <a:r>
            <a:rPr lang="el-GR" sz="1400" b="0" kern="12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)</a:t>
          </a:r>
          <a:r>
            <a:rPr lang="en-US" sz="1400" b="0" kern="12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 </a:t>
          </a:r>
          <a:endParaRPr lang="el-GR" sz="1400" b="0" kern="1200" dirty="0">
            <a:solidFill>
              <a:schemeClr val="bg1"/>
            </a:solidFill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</dgm:t>
    </dgm:pt>
    <dgm:pt modelId="{73892F75-C9F8-44B4-9F0E-3EB757A182BB}" type="parTrans" cxnId="{2D9C2D1F-4FBC-4F3D-97E6-53907F7CFF4E}">
      <dgm:prSet/>
      <dgm:spPr/>
      <dgm:t>
        <a:bodyPr/>
        <a:lstStyle/>
        <a:p>
          <a:pPr algn="ctr"/>
          <a:endParaRPr lang="el-GR"/>
        </a:p>
      </dgm:t>
    </dgm:pt>
    <dgm:pt modelId="{B336645C-FB70-45C5-9AA5-E8D1355850E6}" type="sibTrans" cxnId="{2D9C2D1F-4FBC-4F3D-97E6-53907F7CFF4E}">
      <dgm:prSet/>
      <dgm:spPr/>
      <dgm:t>
        <a:bodyPr/>
        <a:lstStyle/>
        <a:p>
          <a:pPr algn="ctr"/>
          <a:endParaRPr lang="el-GR"/>
        </a:p>
      </dgm:t>
    </dgm:pt>
    <dgm:pt modelId="{5481F17F-7E80-4F40-9649-476CF3496F7C}">
      <dgm:prSet custT="1"/>
      <dgm:spPr/>
      <dgm:t>
        <a:bodyPr spcFirstLastPara="0" vert="horz" wrap="square" lIns="72390" tIns="72390" rIns="72390" bIns="72390" numCol="1" spcCol="1270" anchor="ctr" anchorCtr="0"/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5 ημέρες</a:t>
          </a: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 μετά το εξιτήριο </a:t>
          </a: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Wingdings" panose="05000000000000000000" pitchFamily="2" charset="2"/>
            </a:rPr>
            <a:t> </a:t>
          </a:r>
          <a:r>
            <a:rPr lang="el-GR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Αποστολή </a:t>
          </a:r>
          <a:r>
            <a:rPr lang="en-US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SMS</a:t>
          </a:r>
          <a:r>
            <a:rPr lang="el-GR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 </a:t>
          </a: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με τον μοναδικό σύνδεσμο</a:t>
          </a:r>
        </a:p>
      </dgm:t>
    </dgm:pt>
    <dgm:pt modelId="{A99BDFCD-A9E2-478A-B17D-40BFC9FE8A7C}" type="parTrans" cxnId="{004402FE-B948-40A3-885D-34C46A73727C}">
      <dgm:prSet/>
      <dgm:spPr/>
      <dgm:t>
        <a:bodyPr/>
        <a:lstStyle/>
        <a:p>
          <a:pPr algn="ctr"/>
          <a:endParaRPr lang="el-GR"/>
        </a:p>
      </dgm:t>
    </dgm:pt>
    <dgm:pt modelId="{DB3EB575-CA23-4551-8A8B-B89B01342181}" type="sibTrans" cxnId="{004402FE-B948-40A3-885D-34C46A73727C}">
      <dgm:prSet/>
      <dgm:spPr/>
      <dgm:t>
        <a:bodyPr/>
        <a:lstStyle/>
        <a:p>
          <a:pPr algn="ctr"/>
          <a:endParaRPr lang="el-GR"/>
        </a:p>
      </dgm:t>
    </dgm:pt>
    <dgm:pt modelId="{425EA549-A508-42BB-86E6-AEE332D801F1}">
      <dgm:prSet phldrT="[Κείμενο]" custT="1"/>
      <dgm:spPr/>
      <dgm:t>
        <a:bodyPr spcFirstLastPara="0" vert="horz" wrap="square" lIns="72390" tIns="72390" rIns="72390" bIns="72390" numCol="1" spcCol="1270" anchor="ctr" anchorCtr="0"/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Σύνδεση πολίτη</a:t>
          </a:r>
        </a:p>
      </dgm:t>
    </dgm:pt>
    <dgm:pt modelId="{2207BF5A-C8B1-4DB5-9869-DC776C341729}" type="parTrans" cxnId="{3A837542-741C-4119-AB54-022273E731C4}">
      <dgm:prSet/>
      <dgm:spPr/>
      <dgm:t>
        <a:bodyPr/>
        <a:lstStyle/>
        <a:p>
          <a:pPr algn="ctr"/>
          <a:endParaRPr lang="el-GR"/>
        </a:p>
      </dgm:t>
    </dgm:pt>
    <dgm:pt modelId="{92DA87D4-E782-4A73-8E4D-4ABCC60DC696}" type="sibTrans" cxnId="{3A837542-741C-4119-AB54-022273E731C4}">
      <dgm:prSet/>
      <dgm:spPr/>
      <dgm:t>
        <a:bodyPr/>
        <a:lstStyle/>
        <a:p>
          <a:pPr algn="ctr"/>
          <a:endParaRPr lang="el-GR"/>
        </a:p>
      </dgm:t>
    </dgm:pt>
    <dgm:pt modelId="{839F4F2A-4E67-48ED-9F46-E61CFCA74541}">
      <dgm:prSet phldrT="[Κείμενο]" custT="1"/>
      <dgm:spPr/>
      <dgm:t>
        <a:bodyPr spcFirstLastPara="0" vert="horz" wrap="square" lIns="72390" tIns="72390" rIns="72390" bIns="72390" numCol="1" spcCol="1270" anchor="ctr" anchorCtr="0"/>
        <a:lstStyle/>
        <a:p>
          <a:pPr algn="ctr"/>
          <a:r>
            <a:rPr lang="el-GR" sz="14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Καταχώρηση  </a:t>
          </a:r>
          <a:r>
            <a:rPr lang="el-GR" sz="1400" b="1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ΑΜΚΑ</a:t>
          </a:r>
        </a:p>
      </dgm:t>
    </dgm:pt>
    <dgm:pt modelId="{DA9FE59C-42CC-4A83-B880-3AB45CD960CD}" type="parTrans" cxnId="{473BF67D-941E-4F40-9D2B-2BD2EA85E3E5}">
      <dgm:prSet/>
      <dgm:spPr/>
      <dgm:t>
        <a:bodyPr/>
        <a:lstStyle/>
        <a:p>
          <a:pPr algn="ctr"/>
          <a:endParaRPr lang="el-GR"/>
        </a:p>
      </dgm:t>
    </dgm:pt>
    <dgm:pt modelId="{9EDA2D85-6437-4D4B-AC64-F5CED0247622}" type="sibTrans" cxnId="{473BF67D-941E-4F40-9D2B-2BD2EA85E3E5}">
      <dgm:prSet/>
      <dgm:spPr/>
      <dgm:t>
        <a:bodyPr/>
        <a:lstStyle/>
        <a:p>
          <a:pPr algn="ctr"/>
          <a:endParaRPr lang="el-GR"/>
        </a:p>
      </dgm:t>
    </dgm:pt>
    <dgm:pt modelId="{CF495ACC-DC8B-4360-8D17-414132407875}">
      <dgm:prSet phldrT="[Κείμενο]" custT="1"/>
      <dgm:spPr/>
      <dgm:t>
        <a:bodyPr spcFirstLastPara="0" vert="horz" wrap="square" lIns="72390" tIns="72390" rIns="72390" bIns="72390" numCol="1" spcCol="1270" anchor="ctr" anchorCtr="0"/>
        <a:lstStyle/>
        <a:p>
          <a:pPr algn="ctr"/>
          <a:r>
            <a:rPr lang="el-GR" sz="14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Επιβεβαίωση από την ΗΔΙΚΑ ότι ο ΑΜΚΑ αντιστοιχεί σε εξιτήριο</a:t>
          </a:r>
        </a:p>
      </dgm:t>
    </dgm:pt>
    <dgm:pt modelId="{081DF887-4573-4E50-A009-4F973208E4D6}" type="parTrans" cxnId="{A571B025-FB20-45BD-9F10-FA1EA949DB32}">
      <dgm:prSet/>
      <dgm:spPr/>
      <dgm:t>
        <a:bodyPr/>
        <a:lstStyle/>
        <a:p>
          <a:pPr algn="ctr"/>
          <a:endParaRPr lang="el-GR"/>
        </a:p>
      </dgm:t>
    </dgm:pt>
    <dgm:pt modelId="{994B3576-C54E-491B-8CE1-A08A1F6F2674}" type="sibTrans" cxnId="{A571B025-FB20-45BD-9F10-FA1EA949DB32}">
      <dgm:prSet/>
      <dgm:spPr/>
      <dgm:t>
        <a:bodyPr/>
        <a:lstStyle/>
        <a:p>
          <a:pPr algn="ctr"/>
          <a:endParaRPr lang="el-GR"/>
        </a:p>
      </dgm:t>
    </dgm:pt>
    <dgm:pt modelId="{E5471356-17B4-42E0-A8D3-C9D420A88476}">
      <dgm:prSet custT="1"/>
      <dgm:spPr/>
      <dgm:t>
        <a:bodyPr spcFirstLastPara="0" vert="horz" wrap="square" lIns="72390" tIns="72390" rIns="72390" bIns="72390" numCol="1" spcCol="1270" anchor="ctr" anchorCtr="0"/>
        <a:lstStyle/>
        <a:p>
          <a:pPr algn="ctr"/>
          <a:r>
            <a:rPr lang="el-GR" sz="14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Είσοδος στην εφαρμογή</a:t>
          </a:r>
        </a:p>
      </dgm:t>
    </dgm:pt>
    <dgm:pt modelId="{87DA9AEA-D66C-48D1-8B51-7038CFD57538}" type="parTrans" cxnId="{5AF4F40F-2E58-4CCE-8A0D-D3343F806C8C}">
      <dgm:prSet/>
      <dgm:spPr/>
      <dgm:t>
        <a:bodyPr/>
        <a:lstStyle/>
        <a:p>
          <a:pPr algn="ctr"/>
          <a:endParaRPr lang="el-GR"/>
        </a:p>
      </dgm:t>
    </dgm:pt>
    <dgm:pt modelId="{8966F5A6-9C09-480C-BD68-8DBA7092C5C7}" type="sibTrans" cxnId="{5AF4F40F-2E58-4CCE-8A0D-D3343F806C8C}">
      <dgm:prSet/>
      <dgm:spPr/>
      <dgm:t>
        <a:bodyPr/>
        <a:lstStyle/>
        <a:p>
          <a:pPr algn="ctr"/>
          <a:endParaRPr lang="el-GR"/>
        </a:p>
      </dgm:t>
    </dgm:pt>
    <dgm:pt modelId="{3BD2D4E6-21D6-4C03-8CE4-88F076CC5F0D}">
      <dgm:prSet custT="1"/>
      <dgm:spPr/>
      <dgm:t>
        <a:bodyPr spcFirstLastPara="0" vert="horz" wrap="square" lIns="72390" tIns="72390" rIns="72390" bIns="72390" numCol="1" spcCol="1270" anchor="ctr" anchorCtr="0"/>
        <a:lstStyle/>
        <a:p>
          <a:pPr algn="ctr"/>
          <a:r>
            <a:rPr lang="el-GR" sz="14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Συμπλήρωση ερωτηματολογίου</a:t>
          </a:r>
        </a:p>
      </dgm:t>
    </dgm:pt>
    <dgm:pt modelId="{4FA7683A-4E57-454D-9ECC-1AA7F51FE423}" type="parTrans" cxnId="{4984EC78-4016-4FB2-B879-8E6EC391AA0E}">
      <dgm:prSet/>
      <dgm:spPr/>
      <dgm:t>
        <a:bodyPr/>
        <a:lstStyle/>
        <a:p>
          <a:pPr algn="ctr"/>
          <a:endParaRPr lang="el-GR"/>
        </a:p>
      </dgm:t>
    </dgm:pt>
    <dgm:pt modelId="{564C9B76-7729-4B00-96EB-F0525E54F37D}" type="sibTrans" cxnId="{4984EC78-4016-4FB2-B879-8E6EC391AA0E}">
      <dgm:prSet/>
      <dgm:spPr/>
      <dgm:t>
        <a:bodyPr/>
        <a:lstStyle/>
        <a:p>
          <a:pPr algn="ctr"/>
          <a:endParaRPr lang="el-GR"/>
        </a:p>
      </dgm:t>
    </dgm:pt>
    <dgm:pt modelId="{47C9432F-19F0-4E94-B3E3-3A27988FA55B}">
      <dgm:prSet phldrT="[Κείμενο]" custT="1"/>
      <dgm:spPr/>
      <dgm:t>
        <a:bodyPr spcFirstLastPara="0" vert="horz" wrap="square" lIns="72390" tIns="72390" rIns="72390" bIns="72390" numCol="1" spcCol="1270" anchor="ctr" anchorCtr="0"/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b="0" kern="12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Δημιουργία           </a:t>
          </a:r>
          <a:r>
            <a:rPr lang="el-GR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μοναδικού </a:t>
          </a:r>
          <a:r>
            <a:rPr lang="en-US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ID </a:t>
          </a:r>
          <a:r>
            <a:rPr lang="el-GR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            </a:t>
          </a: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χωρίς ταυτοποίηση προσώπου</a:t>
          </a:r>
        </a:p>
      </dgm:t>
    </dgm:pt>
    <dgm:pt modelId="{08CD494D-8F98-4153-9BBF-6013F9A8CA90}" type="parTrans" cxnId="{E3A9BE12-A1DB-4FD7-A1C4-32F866A4C389}">
      <dgm:prSet/>
      <dgm:spPr/>
      <dgm:t>
        <a:bodyPr/>
        <a:lstStyle/>
        <a:p>
          <a:endParaRPr lang="el-GR"/>
        </a:p>
      </dgm:t>
    </dgm:pt>
    <dgm:pt modelId="{67EB5904-3FA0-484F-B8A9-465679347ECA}" type="sibTrans" cxnId="{E3A9BE12-A1DB-4FD7-A1C4-32F866A4C389}">
      <dgm:prSet/>
      <dgm:spPr/>
      <dgm:t>
        <a:bodyPr/>
        <a:lstStyle/>
        <a:p>
          <a:endParaRPr lang="el-GR"/>
        </a:p>
      </dgm:t>
    </dgm:pt>
    <dgm:pt modelId="{535DDA37-4449-436F-8A9D-FB48E483E4CF}" type="pres">
      <dgm:prSet presAssocID="{52B97B4D-7B25-4C72-9379-A959D04F4125}" presName="Name0" presStyleCnt="0">
        <dgm:presLayoutVars>
          <dgm:dir/>
          <dgm:resizeHandles val="exact"/>
        </dgm:presLayoutVars>
      </dgm:prSet>
      <dgm:spPr/>
    </dgm:pt>
    <dgm:pt modelId="{21887C2A-A685-4D88-AEA5-E5E592511652}" type="pres">
      <dgm:prSet presAssocID="{7632BCB5-27CD-42F1-88DB-00FD194A9759}" presName="node" presStyleLbl="node1" presStyleIdx="0" presStyleCnt="10">
        <dgm:presLayoutVars>
          <dgm:bulletEnabled val="1"/>
        </dgm:presLayoutVars>
      </dgm:prSet>
      <dgm:spPr/>
    </dgm:pt>
    <dgm:pt modelId="{0880EBCE-8958-4937-A0F7-72DE32BCF293}" type="pres">
      <dgm:prSet presAssocID="{877A5BA0-A2E9-4E79-A4CD-95FBF953C7E9}" presName="sibTrans" presStyleLbl="sibTrans1D1" presStyleIdx="0" presStyleCnt="9"/>
      <dgm:spPr/>
    </dgm:pt>
    <dgm:pt modelId="{A2AE412F-190A-4B62-BF5A-3EE68FF0E8BD}" type="pres">
      <dgm:prSet presAssocID="{877A5BA0-A2E9-4E79-A4CD-95FBF953C7E9}" presName="connectorText" presStyleLbl="sibTrans1D1" presStyleIdx="0" presStyleCnt="9"/>
      <dgm:spPr/>
    </dgm:pt>
    <dgm:pt modelId="{5F6A6A0E-7ADB-4A0F-A696-E887F79DF5A4}" type="pres">
      <dgm:prSet presAssocID="{24075129-6AF5-4830-B696-CC5644986C3C}" presName="node" presStyleLbl="node1" presStyleIdx="1" presStyleCnt="10">
        <dgm:presLayoutVars>
          <dgm:bulletEnabled val="1"/>
        </dgm:presLayoutVars>
      </dgm:prSet>
      <dgm:spPr/>
    </dgm:pt>
    <dgm:pt modelId="{1B891176-E9A3-4D08-8AB6-46C1DEF0BB61}" type="pres">
      <dgm:prSet presAssocID="{BB574E04-B680-4249-81DB-F362163F546F}" presName="sibTrans" presStyleLbl="sibTrans1D1" presStyleIdx="1" presStyleCnt="9"/>
      <dgm:spPr/>
    </dgm:pt>
    <dgm:pt modelId="{81F0238D-7F63-4205-BAAE-8D32CD4D0585}" type="pres">
      <dgm:prSet presAssocID="{BB574E04-B680-4249-81DB-F362163F546F}" presName="connectorText" presStyleLbl="sibTrans1D1" presStyleIdx="1" presStyleCnt="9"/>
      <dgm:spPr/>
    </dgm:pt>
    <dgm:pt modelId="{4F61E42E-5694-4757-8820-E201555FEC88}" type="pres">
      <dgm:prSet presAssocID="{47C9432F-19F0-4E94-B3E3-3A27988FA55B}" presName="node" presStyleLbl="node1" presStyleIdx="2" presStyleCnt="10">
        <dgm:presLayoutVars>
          <dgm:bulletEnabled val="1"/>
        </dgm:presLayoutVars>
      </dgm:prSet>
      <dgm:spPr/>
    </dgm:pt>
    <dgm:pt modelId="{1C9D30AA-ABCD-4A08-A07B-13E8CF8D1259}" type="pres">
      <dgm:prSet presAssocID="{67EB5904-3FA0-484F-B8A9-465679347ECA}" presName="sibTrans" presStyleLbl="sibTrans1D1" presStyleIdx="2" presStyleCnt="9"/>
      <dgm:spPr/>
    </dgm:pt>
    <dgm:pt modelId="{2CE973A3-3283-47A7-B385-74AB3D183513}" type="pres">
      <dgm:prSet presAssocID="{67EB5904-3FA0-484F-B8A9-465679347ECA}" presName="connectorText" presStyleLbl="sibTrans1D1" presStyleIdx="2" presStyleCnt="9"/>
      <dgm:spPr/>
    </dgm:pt>
    <dgm:pt modelId="{2B174061-4AC3-49FB-94FD-8999EB26AC21}" type="pres">
      <dgm:prSet presAssocID="{AEE9D1EB-7D16-4340-97B9-95FD743AB0E3}" presName="node" presStyleLbl="node1" presStyleIdx="3" presStyleCnt="10" custLinFactNeighborX="1448">
        <dgm:presLayoutVars>
          <dgm:bulletEnabled val="1"/>
        </dgm:presLayoutVars>
      </dgm:prSet>
      <dgm:spPr/>
    </dgm:pt>
    <dgm:pt modelId="{0ACF431A-4A13-4B5C-8E73-1B0FFC7364CD}" type="pres">
      <dgm:prSet presAssocID="{B336645C-FB70-45C5-9AA5-E8D1355850E6}" presName="sibTrans" presStyleLbl="sibTrans1D1" presStyleIdx="3" presStyleCnt="9"/>
      <dgm:spPr/>
    </dgm:pt>
    <dgm:pt modelId="{51C8EBEE-E129-410E-B1DB-25D78E17F4E2}" type="pres">
      <dgm:prSet presAssocID="{B336645C-FB70-45C5-9AA5-E8D1355850E6}" presName="connectorText" presStyleLbl="sibTrans1D1" presStyleIdx="3" presStyleCnt="9"/>
      <dgm:spPr/>
    </dgm:pt>
    <dgm:pt modelId="{1C787E9E-8347-490C-A4C9-49392C75CAB8}" type="pres">
      <dgm:prSet presAssocID="{5481F17F-7E80-4F40-9649-476CF3496F7C}" presName="node" presStyleLbl="node1" presStyleIdx="4" presStyleCnt="10">
        <dgm:presLayoutVars>
          <dgm:bulletEnabled val="1"/>
        </dgm:presLayoutVars>
      </dgm:prSet>
      <dgm:spPr/>
    </dgm:pt>
    <dgm:pt modelId="{2EE92AD2-D479-49E5-B3DC-DD5658D5917E}" type="pres">
      <dgm:prSet presAssocID="{DB3EB575-CA23-4551-8A8B-B89B01342181}" presName="sibTrans" presStyleLbl="sibTrans1D1" presStyleIdx="4" presStyleCnt="9"/>
      <dgm:spPr/>
    </dgm:pt>
    <dgm:pt modelId="{F6C84567-D891-4C44-B400-F748130F0EB1}" type="pres">
      <dgm:prSet presAssocID="{DB3EB575-CA23-4551-8A8B-B89B01342181}" presName="connectorText" presStyleLbl="sibTrans1D1" presStyleIdx="4" presStyleCnt="9"/>
      <dgm:spPr/>
    </dgm:pt>
    <dgm:pt modelId="{01AC481C-7AD2-4551-9DD4-985E5FFB1341}" type="pres">
      <dgm:prSet presAssocID="{425EA549-A508-42BB-86E6-AEE332D801F1}" presName="node" presStyleLbl="node1" presStyleIdx="5" presStyleCnt="10">
        <dgm:presLayoutVars>
          <dgm:bulletEnabled val="1"/>
        </dgm:presLayoutVars>
      </dgm:prSet>
      <dgm:spPr/>
    </dgm:pt>
    <dgm:pt modelId="{D05EFF28-2DDC-48AF-8F66-5961F7216790}" type="pres">
      <dgm:prSet presAssocID="{92DA87D4-E782-4A73-8E4D-4ABCC60DC696}" presName="sibTrans" presStyleLbl="sibTrans1D1" presStyleIdx="5" presStyleCnt="9"/>
      <dgm:spPr/>
    </dgm:pt>
    <dgm:pt modelId="{E06FA5A0-F5F6-4641-A7ED-1475A16EF0AC}" type="pres">
      <dgm:prSet presAssocID="{92DA87D4-E782-4A73-8E4D-4ABCC60DC696}" presName="connectorText" presStyleLbl="sibTrans1D1" presStyleIdx="5" presStyleCnt="9"/>
      <dgm:spPr/>
    </dgm:pt>
    <dgm:pt modelId="{0E6870D1-90EE-43AF-A19C-2D1A47FE9572}" type="pres">
      <dgm:prSet presAssocID="{839F4F2A-4E67-48ED-9F46-E61CFCA74541}" presName="node" presStyleLbl="node1" presStyleIdx="6" presStyleCnt="10">
        <dgm:presLayoutVars>
          <dgm:bulletEnabled val="1"/>
        </dgm:presLayoutVars>
      </dgm:prSet>
      <dgm:spPr/>
    </dgm:pt>
    <dgm:pt modelId="{7EC96E57-976E-4B11-B164-4FA2CCDF659A}" type="pres">
      <dgm:prSet presAssocID="{9EDA2D85-6437-4D4B-AC64-F5CED0247622}" presName="sibTrans" presStyleLbl="sibTrans1D1" presStyleIdx="6" presStyleCnt="9"/>
      <dgm:spPr/>
    </dgm:pt>
    <dgm:pt modelId="{7399E47E-F6DC-4937-9AEC-63A1627AE59E}" type="pres">
      <dgm:prSet presAssocID="{9EDA2D85-6437-4D4B-AC64-F5CED0247622}" presName="connectorText" presStyleLbl="sibTrans1D1" presStyleIdx="6" presStyleCnt="9"/>
      <dgm:spPr/>
    </dgm:pt>
    <dgm:pt modelId="{144D1900-25DF-4722-B850-28F0E66E28C2}" type="pres">
      <dgm:prSet presAssocID="{CF495ACC-DC8B-4360-8D17-414132407875}" presName="node" presStyleLbl="node1" presStyleIdx="7" presStyleCnt="10">
        <dgm:presLayoutVars>
          <dgm:bulletEnabled val="1"/>
        </dgm:presLayoutVars>
      </dgm:prSet>
      <dgm:spPr/>
    </dgm:pt>
    <dgm:pt modelId="{3061AA24-F0D8-443E-8635-ED5B42EC562F}" type="pres">
      <dgm:prSet presAssocID="{994B3576-C54E-491B-8CE1-A08A1F6F2674}" presName="sibTrans" presStyleLbl="sibTrans1D1" presStyleIdx="7" presStyleCnt="9"/>
      <dgm:spPr/>
    </dgm:pt>
    <dgm:pt modelId="{C8C55C74-06E5-41E9-B25B-C1578A0AA638}" type="pres">
      <dgm:prSet presAssocID="{994B3576-C54E-491B-8CE1-A08A1F6F2674}" presName="connectorText" presStyleLbl="sibTrans1D1" presStyleIdx="7" presStyleCnt="9"/>
      <dgm:spPr/>
    </dgm:pt>
    <dgm:pt modelId="{79D38DDC-CC44-4132-AC37-A48C9E64E652}" type="pres">
      <dgm:prSet presAssocID="{E5471356-17B4-42E0-A8D3-C9D420A88476}" presName="node" presStyleLbl="node1" presStyleIdx="8" presStyleCnt="10">
        <dgm:presLayoutVars>
          <dgm:bulletEnabled val="1"/>
        </dgm:presLayoutVars>
      </dgm:prSet>
      <dgm:spPr/>
    </dgm:pt>
    <dgm:pt modelId="{F2E88874-E9FC-4F57-A5E0-4BB68194BE8E}" type="pres">
      <dgm:prSet presAssocID="{8966F5A6-9C09-480C-BD68-8DBA7092C5C7}" presName="sibTrans" presStyleLbl="sibTrans1D1" presStyleIdx="8" presStyleCnt="9"/>
      <dgm:spPr/>
    </dgm:pt>
    <dgm:pt modelId="{D66B6E69-3F1C-4876-8BD2-14B0826F8DDB}" type="pres">
      <dgm:prSet presAssocID="{8966F5A6-9C09-480C-BD68-8DBA7092C5C7}" presName="connectorText" presStyleLbl="sibTrans1D1" presStyleIdx="8" presStyleCnt="9"/>
      <dgm:spPr/>
    </dgm:pt>
    <dgm:pt modelId="{4136EC30-1368-418A-92F7-E0D2C62E8593}" type="pres">
      <dgm:prSet presAssocID="{3BD2D4E6-21D6-4C03-8CE4-88F076CC5F0D}" presName="node" presStyleLbl="node1" presStyleIdx="9" presStyleCnt="10">
        <dgm:presLayoutVars>
          <dgm:bulletEnabled val="1"/>
        </dgm:presLayoutVars>
      </dgm:prSet>
      <dgm:spPr/>
    </dgm:pt>
  </dgm:ptLst>
  <dgm:cxnLst>
    <dgm:cxn modelId="{56452508-F084-43AA-9025-37AFC969C133}" type="presOf" srcId="{839F4F2A-4E67-48ED-9F46-E61CFCA74541}" destId="{0E6870D1-90EE-43AF-A19C-2D1A47FE9572}" srcOrd="0" destOrd="0" presId="urn:microsoft.com/office/officeart/2005/8/layout/bProcess3"/>
    <dgm:cxn modelId="{AE4D600F-0FD7-46AE-B156-6E91E6F86784}" type="presOf" srcId="{E5471356-17B4-42E0-A8D3-C9D420A88476}" destId="{79D38DDC-CC44-4132-AC37-A48C9E64E652}" srcOrd="0" destOrd="0" presId="urn:microsoft.com/office/officeart/2005/8/layout/bProcess3"/>
    <dgm:cxn modelId="{5AF4F40F-2E58-4CCE-8A0D-D3343F806C8C}" srcId="{52B97B4D-7B25-4C72-9379-A959D04F4125}" destId="{E5471356-17B4-42E0-A8D3-C9D420A88476}" srcOrd="8" destOrd="0" parTransId="{87DA9AEA-D66C-48D1-8B51-7038CFD57538}" sibTransId="{8966F5A6-9C09-480C-BD68-8DBA7092C5C7}"/>
    <dgm:cxn modelId="{98AD9E11-4E19-4C1D-8C9E-F41512669730}" type="presOf" srcId="{AEE9D1EB-7D16-4340-97B9-95FD743AB0E3}" destId="{2B174061-4AC3-49FB-94FD-8999EB26AC21}" srcOrd="0" destOrd="0" presId="urn:microsoft.com/office/officeart/2005/8/layout/bProcess3"/>
    <dgm:cxn modelId="{E3A9BE12-A1DB-4FD7-A1C4-32F866A4C389}" srcId="{52B97B4D-7B25-4C72-9379-A959D04F4125}" destId="{47C9432F-19F0-4E94-B3E3-3A27988FA55B}" srcOrd="2" destOrd="0" parTransId="{08CD494D-8F98-4153-9BBF-6013F9A8CA90}" sibTransId="{67EB5904-3FA0-484F-B8A9-465679347ECA}"/>
    <dgm:cxn modelId="{2D9C2D1F-4FBC-4F3D-97E6-53907F7CFF4E}" srcId="{52B97B4D-7B25-4C72-9379-A959D04F4125}" destId="{AEE9D1EB-7D16-4340-97B9-95FD743AB0E3}" srcOrd="3" destOrd="0" parTransId="{73892F75-C9F8-44B4-9F0E-3EB757A182BB}" sibTransId="{B336645C-FB70-45C5-9AA5-E8D1355850E6}"/>
    <dgm:cxn modelId="{A571B025-FB20-45BD-9F10-FA1EA949DB32}" srcId="{52B97B4D-7B25-4C72-9379-A959D04F4125}" destId="{CF495ACC-DC8B-4360-8D17-414132407875}" srcOrd="7" destOrd="0" parTransId="{081DF887-4573-4E50-A009-4F973208E4D6}" sibTransId="{994B3576-C54E-491B-8CE1-A08A1F6F2674}"/>
    <dgm:cxn modelId="{D1129528-AFDA-485D-A347-2F83A29BF98F}" type="presOf" srcId="{8966F5A6-9C09-480C-BD68-8DBA7092C5C7}" destId="{D66B6E69-3F1C-4876-8BD2-14B0826F8DDB}" srcOrd="1" destOrd="0" presId="urn:microsoft.com/office/officeart/2005/8/layout/bProcess3"/>
    <dgm:cxn modelId="{09CB2E29-F670-4117-B58D-F98574B7E839}" type="presOf" srcId="{CF495ACC-DC8B-4360-8D17-414132407875}" destId="{144D1900-25DF-4722-B850-28F0E66E28C2}" srcOrd="0" destOrd="0" presId="urn:microsoft.com/office/officeart/2005/8/layout/bProcess3"/>
    <dgm:cxn modelId="{A87B6B31-F733-4633-97BD-288B125FD4A7}" type="presOf" srcId="{5481F17F-7E80-4F40-9649-476CF3496F7C}" destId="{1C787E9E-8347-490C-A4C9-49392C75CAB8}" srcOrd="0" destOrd="0" presId="urn:microsoft.com/office/officeart/2005/8/layout/bProcess3"/>
    <dgm:cxn modelId="{3A837542-741C-4119-AB54-022273E731C4}" srcId="{52B97B4D-7B25-4C72-9379-A959D04F4125}" destId="{425EA549-A508-42BB-86E6-AEE332D801F1}" srcOrd="5" destOrd="0" parTransId="{2207BF5A-C8B1-4DB5-9869-DC776C341729}" sibTransId="{92DA87D4-E782-4A73-8E4D-4ABCC60DC696}"/>
    <dgm:cxn modelId="{76D2CF64-46C2-4DE2-980A-C990A223BC28}" type="presOf" srcId="{7632BCB5-27CD-42F1-88DB-00FD194A9759}" destId="{21887C2A-A685-4D88-AEA5-E5E592511652}" srcOrd="0" destOrd="0" presId="urn:microsoft.com/office/officeart/2005/8/layout/bProcess3"/>
    <dgm:cxn modelId="{6D0C1A4F-AB6A-4EFB-A125-43365E0A36B5}" type="presOf" srcId="{DB3EB575-CA23-4551-8A8B-B89B01342181}" destId="{2EE92AD2-D479-49E5-B3DC-DD5658D5917E}" srcOrd="0" destOrd="0" presId="urn:microsoft.com/office/officeart/2005/8/layout/bProcess3"/>
    <dgm:cxn modelId="{73FC6E52-4F5D-4BB2-AD3E-FDCF758550C8}" type="presOf" srcId="{67EB5904-3FA0-484F-B8A9-465679347ECA}" destId="{2CE973A3-3283-47A7-B385-74AB3D183513}" srcOrd="1" destOrd="0" presId="urn:microsoft.com/office/officeart/2005/8/layout/bProcess3"/>
    <dgm:cxn modelId="{7E997972-12E1-4190-9764-FECCAB484119}" type="presOf" srcId="{BB574E04-B680-4249-81DB-F362163F546F}" destId="{81F0238D-7F63-4205-BAAE-8D32CD4D0585}" srcOrd="1" destOrd="0" presId="urn:microsoft.com/office/officeart/2005/8/layout/bProcess3"/>
    <dgm:cxn modelId="{4984EC78-4016-4FB2-B879-8E6EC391AA0E}" srcId="{52B97B4D-7B25-4C72-9379-A959D04F4125}" destId="{3BD2D4E6-21D6-4C03-8CE4-88F076CC5F0D}" srcOrd="9" destOrd="0" parTransId="{4FA7683A-4E57-454D-9ECC-1AA7F51FE423}" sibTransId="{564C9B76-7729-4B00-96EB-F0525E54F37D}"/>
    <dgm:cxn modelId="{47DA917C-652D-4C62-AD5C-4A86B37C1C8F}" type="presOf" srcId="{47C9432F-19F0-4E94-B3E3-3A27988FA55B}" destId="{4F61E42E-5694-4757-8820-E201555FEC88}" srcOrd="0" destOrd="0" presId="urn:microsoft.com/office/officeart/2005/8/layout/bProcess3"/>
    <dgm:cxn modelId="{473BF67D-941E-4F40-9D2B-2BD2EA85E3E5}" srcId="{52B97B4D-7B25-4C72-9379-A959D04F4125}" destId="{839F4F2A-4E67-48ED-9F46-E61CFCA74541}" srcOrd="6" destOrd="0" parTransId="{DA9FE59C-42CC-4A83-B880-3AB45CD960CD}" sibTransId="{9EDA2D85-6437-4D4B-AC64-F5CED0247622}"/>
    <dgm:cxn modelId="{84C80782-0831-4C4D-BF22-5AC127E64F96}" type="presOf" srcId="{877A5BA0-A2E9-4E79-A4CD-95FBF953C7E9}" destId="{0880EBCE-8958-4937-A0F7-72DE32BCF293}" srcOrd="0" destOrd="0" presId="urn:microsoft.com/office/officeart/2005/8/layout/bProcess3"/>
    <dgm:cxn modelId="{DB17A188-A779-47AB-926A-21AB5F009500}" type="presOf" srcId="{92DA87D4-E782-4A73-8E4D-4ABCC60DC696}" destId="{E06FA5A0-F5F6-4641-A7ED-1475A16EF0AC}" srcOrd="1" destOrd="0" presId="urn:microsoft.com/office/officeart/2005/8/layout/bProcess3"/>
    <dgm:cxn modelId="{22CEA78E-5DE3-4B2E-8E81-7893AD7519FB}" type="presOf" srcId="{DB3EB575-CA23-4551-8A8B-B89B01342181}" destId="{F6C84567-D891-4C44-B400-F748130F0EB1}" srcOrd="1" destOrd="0" presId="urn:microsoft.com/office/officeart/2005/8/layout/bProcess3"/>
    <dgm:cxn modelId="{EDACA88E-A0CD-4898-9A7A-122A32E0AA0E}" type="presOf" srcId="{994B3576-C54E-491B-8CE1-A08A1F6F2674}" destId="{C8C55C74-06E5-41E9-B25B-C1578A0AA638}" srcOrd="1" destOrd="0" presId="urn:microsoft.com/office/officeart/2005/8/layout/bProcess3"/>
    <dgm:cxn modelId="{65FC7792-23D9-44D7-857B-DF9CF109D490}" type="presOf" srcId="{67EB5904-3FA0-484F-B8A9-465679347ECA}" destId="{1C9D30AA-ABCD-4A08-A07B-13E8CF8D1259}" srcOrd="0" destOrd="0" presId="urn:microsoft.com/office/officeart/2005/8/layout/bProcess3"/>
    <dgm:cxn modelId="{AB5B1793-D0AF-49EC-9E9E-DFC0F8E858EF}" type="presOf" srcId="{9EDA2D85-6437-4D4B-AC64-F5CED0247622}" destId="{7399E47E-F6DC-4937-9AEC-63A1627AE59E}" srcOrd="1" destOrd="0" presId="urn:microsoft.com/office/officeart/2005/8/layout/bProcess3"/>
    <dgm:cxn modelId="{0A7D7395-7B73-4345-A031-44C38178D492}" type="presOf" srcId="{3BD2D4E6-21D6-4C03-8CE4-88F076CC5F0D}" destId="{4136EC30-1368-418A-92F7-E0D2C62E8593}" srcOrd="0" destOrd="0" presId="urn:microsoft.com/office/officeart/2005/8/layout/bProcess3"/>
    <dgm:cxn modelId="{3D9E9FA6-CBBF-46F7-ADD9-895FCB770B9B}" type="presOf" srcId="{877A5BA0-A2E9-4E79-A4CD-95FBF953C7E9}" destId="{A2AE412F-190A-4B62-BF5A-3EE68FF0E8BD}" srcOrd="1" destOrd="0" presId="urn:microsoft.com/office/officeart/2005/8/layout/bProcess3"/>
    <dgm:cxn modelId="{E282E2AC-D2F6-4FE8-8207-CF4129CD550F}" type="presOf" srcId="{92DA87D4-E782-4A73-8E4D-4ABCC60DC696}" destId="{D05EFF28-2DDC-48AF-8F66-5961F7216790}" srcOrd="0" destOrd="0" presId="urn:microsoft.com/office/officeart/2005/8/layout/bProcess3"/>
    <dgm:cxn modelId="{F7239AB1-4A2F-4062-BFA0-AD755446DB74}" type="presOf" srcId="{24075129-6AF5-4830-B696-CC5644986C3C}" destId="{5F6A6A0E-7ADB-4A0F-A696-E887F79DF5A4}" srcOrd="0" destOrd="0" presId="urn:microsoft.com/office/officeart/2005/8/layout/bProcess3"/>
    <dgm:cxn modelId="{5E9C29B9-CB4F-40FC-A79D-81C42C8CBB49}" srcId="{52B97B4D-7B25-4C72-9379-A959D04F4125}" destId="{24075129-6AF5-4830-B696-CC5644986C3C}" srcOrd="1" destOrd="0" parTransId="{57EE3B8C-77D7-4774-8C63-1DCAF6D4EFED}" sibTransId="{BB574E04-B680-4249-81DB-F362163F546F}"/>
    <dgm:cxn modelId="{A06DF7BF-ABAB-4946-A4EB-ACCF5406762B}" type="presOf" srcId="{B336645C-FB70-45C5-9AA5-E8D1355850E6}" destId="{51C8EBEE-E129-410E-B1DB-25D78E17F4E2}" srcOrd="1" destOrd="0" presId="urn:microsoft.com/office/officeart/2005/8/layout/bProcess3"/>
    <dgm:cxn modelId="{74B0CDC3-890D-4C2B-94D3-3B2518D498D3}" type="presOf" srcId="{BB574E04-B680-4249-81DB-F362163F546F}" destId="{1B891176-E9A3-4D08-8AB6-46C1DEF0BB61}" srcOrd="0" destOrd="0" presId="urn:microsoft.com/office/officeart/2005/8/layout/bProcess3"/>
    <dgm:cxn modelId="{CB142AD3-AFF1-494C-8037-9530EB180563}" type="presOf" srcId="{9EDA2D85-6437-4D4B-AC64-F5CED0247622}" destId="{7EC96E57-976E-4B11-B164-4FA2CCDF659A}" srcOrd="0" destOrd="0" presId="urn:microsoft.com/office/officeart/2005/8/layout/bProcess3"/>
    <dgm:cxn modelId="{5E7B20D4-DB57-432F-894A-D6294B2F6425}" type="presOf" srcId="{8966F5A6-9C09-480C-BD68-8DBA7092C5C7}" destId="{F2E88874-E9FC-4F57-A5E0-4BB68194BE8E}" srcOrd="0" destOrd="0" presId="urn:microsoft.com/office/officeart/2005/8/layout/bProcess3"/>
    <dgm:cxn modelId="{D84E26D6-6DC0-45E1-8CED-DD4ACC3EAB53}" srcId="{52B97B4D-7B25-4C72-9379-A959D04F4125}" destId="{7632BCB5-27CD-42F1-88DB-00FD194A9759}" srcOrd="0" destOrd="0" parTransId="{BA0EB6C5-1CA8-4436-88D2-3ED43253FC3E}" sibTransId="{877A5BA0-A2E9-4E79-A4CD-95FBF953C7E9}"/>
    <dgm:cxn modelId="{580EEFE3-55BC-403B-AFC6-06C9BA2F3768}" type="presOf" srcId="{994B3576-C54E-491B-8CE1-A08A1F6F2674}" destId="{3061AA24-F0D8-443E-8635-ED5B42EC562F}" srcOrd="0" destOrd="0" presId="urn:microsoft.com/office/officeart/2005/8/layout/bProcess3"/>
    <dgm:cxn modelId="{CF523FEE-A56F-4837-883A-E4DD70F89DAF}" type="presOf" srcId="{425EA549-A508-42BB-86E6-AEE332D801F1}" destId="{01AC481C-7AD2-4551-9DD4-985E5FFB1341}" srcOrd="0" destOrd="0" presId="urn:microsoft.com/office/officeart/2005/8/layout/bProcess3"/>
    <dgm:cxn modelId="{D449EAF4-D268-4AA2-AF36-C3BF6F9BF3F8}" type="presOf" srcId="{52B97B4D-7B25-4C72-9379-A959D04F4125}" destId="{535DDA37-4449-436F-8A9D-FB48E483E4CF}" srcOrd="0" destOrd="0" presId="urn:microsoft.com/office/officeart/2005/8/layout/bProcess3"/>
    <dgm:cxn modelId="{004402FE-B948-40A3-885D-34C46A73727C}" srcId="{52B97B4D-7B25-4C72-9379-A959D04F4125}" destId="{5481F17F-7E80-4F40-9649-476CF3496F7C}" srcOrd="4" destOrd="0" parTransId="{A99BDFCD-A9E2-478A-B17D-40BFC9FE8A7C}" sibTransId="{DB3EB575-CA23-4551-8A8B-B89B01342181}"/>
    <dgm:cxn modelId="{EF60D2FE-6661-4F6E-AA94-C8897540C993}" type="presOf" srcId="{B336645C-FB70-45C5-9AA5-E8D1355850E6}" destId="{0ACF431A-4A13-4B5C-8E73-1B0FFC7364CD}" srcOrd="0" destOrd="0" presId="urn:microsoft.com/office/officeart/2005/8/layout/bProcess3"/>
    <dgm:cxn modelId="{8B48D236-13B4-4221-AAFA-DD39098EC658}" type="presParOf" srcId="{535DDA37-4449-436F-8A9D-FB48E483E4CF}" destId="{21887C2A-A685-4D88-AEA5-E5E592511652}" srcOrd="0" destOrd="0" presId="urn:microsoft.com/office/officeart/2005/8/layout/bProcess3"/>
    <dgm:cxn modelId="{8B362545-A38D-47A7-8C07-694475A8484E}" type="presParOf" srcId="{535DDA37-4449-436F-8A9D-FB48E483E4CF}" destId="{0880EBCE-8958-4937-A0F7-72DE32BCF293}" srcOrd="1" destOrd="0" presId="urn:microsoft.com/office/officeart/2005/8/layout/bProcess3"/>
    <dgm:cxn modelId="{DCA7CF2F-C08A-4F3D-A3C7-E648945693D6}" type="presParOf" srcId="{0880EBCE-8958-4937-A0F7-72DE32BCF293}" destId="{A2AE412F-190A-4B62-BF5A-3EE68FF0E8BD}" srcOrd="0" destOrd="0" presId="urn:microsoft.com/office/officeart/2005/8/layout/bProcess3"/>
    <dgm:cxn modelId="{59F66938-2307-4795-B9C4-D277A2AB2D3F}" type="presParOf" srcId="{535DDA37-4449-436F-8A9D-FB48E483E4CF}" destId="{5F6A6A0E-7ADB-4A0F-A696-E887F79DF5A4}" srcOrd="2" destOrd="0" presId="urn:microsoft.com/office/officeart/2005/8/layout/bProcess3"/>
    <dgm:cxn modelId="{DA21DE5E-506A-4878-A752-820517EA6897}" type="presParOf" srcId="{535DDA37-4449-436F-8A9D-FB48E483E4CF}" destId="{1B891176-E9A3-4D08-8AB6-46C1DEF0BB61}" srcOrd="3" destOrd="0" presId="urn:microsoft.com/office/officeart/2005/8/layout/bProcess3"/>
    <dgm:cxn modelId="{0B14B3C3-2EBD-4509-9C39-8551B10B24A2}" type="presParOf" srcId="{1B891176-E9A3-4D08-8AB6-46C1DEF0BB61}" destId="{81F0238D-7F63-4205-BAAE-8D32CD4D0585}" srcOrd="0" destOrd="0" presId="urn:microsoft.com/office/officeart/2005/8/layout/bProcess3"/>
    <dgm:cxn modelId="{03F6074B-085D-4E6E-A6B6-7DF7A83CF55E}" type="presParOf" srcId="{535DDA37-4449-436F-8A9D-FB48E483E4CF}" destId="{4F61E42E-5694-4757-8820-E201555FEC88}" srcOrd="4" destOrd="0" presId="urn:microsoft.com/office/officeart/2005/8/layout/bProcess3"/>
    <dgm:cxn modelId="{E33138BC-72CB-47C9-9919-A3513F70EC92}" type="presParOf" srcId="{535DDA37-4449-436F-8A9D-FB48E483E4CF}" destId="{1C9D30AA-ABCD-4A08-A07B-13E8CF8D1259}" srcOrd="5" destOrd="0" presId="urn:microsoft.com/office/officeart/2005/8/layout/bProcess3"/>
    <dgm:cxn modelId="{08EA54FA-6E35-4C60-8273-E2634C58FCED}" type="presParOf" srcId="{1C9D30AA-ABCD-4A08-A07B-13E8CF8D1259}" destId="{2CE973A3-3283-47A7-B385-74AB3D183513}" srcOrd="0" destOrd="0" presId="urn:microsoft.com/office/officeart/2005/8/layout/bProcess3"/>
    <dgm:cxn modelId="{2B95B30C-8CBF-4277-BE89-C37E91EA1DC5}" type="presParOf" srcId="{535DDA37-4449-436F-8A9D-FB48E483E4CF}" destId="{2B174061-4AC3-49FB-94FD-8999EB26AC21}" srcOrd="6" destOrd="0" presId="urn:microsoft.com/office/officeart/2005/8/layout/bProcess3"/>
    <dgm:cxn modelId="{EF28EEB0-E750-463A-8649-5AB0BD45B0D1}" type="presParOf" srcId="{535DDA37-4449-436F-8A9D-FB48E483E4CF}" destId="{0ACF431A-4A13-4B5C-8E73-1B0FFC7364CD}" srcOrd="7" destOrd="0" presId="urn:microsoft.com/office/officeart/2005/8/layout/bProcess3"/>
    <dgm:cxn modelId="{BBF64ACC-D272-474E-8794-B43465BA7C6B}" type="presParOf" srcId="{0ACF431A-4A13-4B5C-8E73-1B0FFC7364CD}" destId="{51C8EBEE-E129-410E-B1DB-25D78E17F4E2}" srcOrd="0" destOrd="0" presId="urn:microsoft.com/office/officeart/2005/8/layout/bProcess3"/>
    <dgm:cxn modelId="{7D6AA53C-D12C-43A9-9E03-730770BEC763}" type="presParOf" srcId="{535DDA37-4449-436F-8A9D-FB48E483E4CF}" destId="{1C787E9E-8347-490C-A4C9-49392C75CAB8}" srcOrd="8" destOrd="0" presId="urn:microsoft.com/office/officeart/2005/8/layout/bProcess3"/>
    <dgm:cxn modelId="{97DA511D-40A4-4135-853C-B7B879EC5D20}" type="presParOf" srcId="{535DDA37-4449-436F-8A9D-FB48E483E4CF}" destId="{2EE92AD2-D479-49E5-B3DC-DD5658D5917E}" srcOrd="9" destOrd="0" presId="urn:microsoft.com/office/officeart/2005/8/layout/bProcess3"/>
    <dgm:cxn modelId="{B936D42B-2A3B-4367-A7F1-BF5F0FBA32F3}" type="presParOf" srcId="{2EE92AD2-D479-49E5-B3DC-DD5658D5917E}" destId="{F6C84567-D891-4C44-B400-F748130F0EB1}" srcOrd="0" destOrd="0" presId="urn:microsoft.com/office/officeart/2005/8/layout/bProcess3"/>
    <dgm:cxn modelId="{970E0BDA-37CF-404F-B057-09CDFA321C68}" type="presParOf" srcId="{535DDA37-4449-436F-8A9D-FB48E483E4CF}" destId="{01AC481C-7AD2-4551-9DD4-985E5FFB1341}" srcOrd="10" destOrd="0" presId="urn:microsoft.com/office/officeart/2005/8/layout/bProcess3"/>
    <dgm:cxn modelId="{645128DD-1D47-490A-A28B-E74FC11589F4}" type="presParOf" srcId="{535DDA37-4449-436F-8A9D-FB48E483E4CF}" destId="{D05EFF28-2DDC-48AF-8F66-5961F7216790}" srcOrd="11" destOrd="0" presId="urn:microsoft.com/office/officeart/2005/8/layout/bProcess3"/>
    <dgm:cxn modelId="{E8927C3A-2C27-495D-A000-310933759D6B}" type="presParOf" srcId="{D05EFF28-2DDC-48AF-8F66-5961F7216790}" destId="{E06FA5A0-F5F6-4641-A7ED-1475A16EF0AC}" srcOrd="0" destOrd="0" presId="urn:microsoft.com/office/officeart/2005/8/layout/bProcess3"/>
    <dgm:cxn modelId="{CD1E7262-1F4F-4162-A1A9-174AF07E8BAE}" type="presParOf" srcId="{535DDA37-4449-436F-8A9D-FB48E483E4CF}" destId="{0E6870D1-90EE-43AF-A19C-2D1A47FE9572}" srcOrd="12" destOrd="0" presId="urn:microsoft.com/office/officeart/2005/8/layout/bProcess3"/>
    <dgm:cxn modelId="{F974B36D-E8BC-421B-9F92-8BE9BEC95CD0}" type="presParOf" srcId="{535DDA37-4449-436F-8A9D-FB48E483E4CF}" destId="{7EC96E57-976E-4B11-B164-4FA2CCDF659A}" srcOrd="13" destOrd="0" presId="urn:microsoft.com/office/officeart/2005/8/layout/bProcess3"/>
    <dgm:cxn modelId="{ED8AF0D8-8D8A-4FED-ABCA-CFF37AD5671A}" type="presParOf" srcId="{7EC96E57-976E-4B11-B164-4FA2CCDF659A}" destId="{7399E47E-F6DC-4937-9AEC-63A1627AE59E}" srcOrd="0" destOrd="0" presId="urn:microsoft.com/office/officeart/2005/8/layout/bProcess3"/>
    <dgm:cxn modelId="{B5D14EB7-9850-4FAA-ACA4-9FFBDBEDBEAF}" type="presParOf" srcId="{535DDA37-4449-436F-8A9D-FB48E483E4CF}" destId="{144D1900-25DF-4722-B850-28F0E66E28C2}" srcOrd="14" destOrd="0" presId="urn:microsoft.com/office/officeart/2005/8/layout/bProcess3"/>
    <dgm:cxn modelId="{41421278-41F7-470D-A971-A5CA9B4DCF7A}" type="presParOf" srcId="{535DDA37-4449-436F-8A9D-FB48E483E4CF}" destId="{3061AA24-F0D8-443E-8635-ED5B42EC562F}" srcOrd="15" destOrd="0" presId="urn:microsoft.com/office/officeart/2005/8/layout/bProcess3"/>
    <dgm:cxn modelId="{FDA9F978-2BAB-4EFE-9995-B8FC689EE311}" type="presParOf" srcId="{3061AA24-F0D8-443E-8635-ED5B42EC562F}" destId="{C8C55C74-06E5-41E9-B25B-C1578A0AA638}" srcOrd="0" destOrd="0" presId="urn:microsoft.com/office/officeart/2005/8/layout/bProcess3"/>
    <dgm:cxn modelId="{2EA4633A-C577-4CDB-8CF2-8E7F99E98047}" type="presParOf" srcId="{535DDA37-4449-436F-8A9D-FB48E483E4CF}" destId="{79D38DDC-CC44-4132-AC37-A48C9E64E652}" srcOrd="16" destOrd="0" presId="urn:microsoft.com/office/officeart/2005/8/layout/bProcess3"/>
    <dgm:cxn modelId="{B57C042E-A1C4-4BAF-81E0-43002063EC20}" type="presParOf" srcId="{535DDA37-4449-436F-8A9D-FB48E483E4CF}" destId="{F2E88874-E9FC-4F57-A5E0-4BB68194BE8E}" srcOrd="17" destOrd="0" presId="urn:microsoft.com/office/officeart/2005/8/layout/bProcess3"/>
    <dgm:cxn modelId="{11ED8C52-1790-402F-8C38-D1544BF71575}" type="presParOf" srcId="{F2E88874-E9FC-4F57-A5E0-4BB68194BE8E}" destId="{D66B6E69-3F1C-4876-8BD2-14B0826F8DDB}" srcOrd="0" destOrd="0" presId="urn:microsoft.com/office/officeart/2005/8/layout/bProcess3"/>
    <dgm:cxn modelId="{01390777-DE31-479D-9013-EE8B23994DB1}" type="presParOf" srcId="{535DDA37-4449-436F-8A9D-FB48E483E4CF}" destId="{4136EC30-1368-418A-92F7-E0D2C62E8593}" srcOrd="18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26DD6AD-2879-4F06-9532-C8962069B6B5}" type="doc">
      <dgm:prSet loTypeId="urn:microsoft.com/office/officeart/2005/8/layout/vList2" loCatId="list" qsTypeId="urn:microsoft.com/office/officeart/2005/8/quickstyle/simple3" qsCatId="simple" csTypeId="urn:microsoft.com/office/officeart/2005/8/colors/accent1_1" csCatId="accent1" phldr="1"/>
      <dgm:spPr/>
      <dgm:t>
        <a:bodyPr/>
        <a:lstStyle/>
        <a:p>
          <a:endParaRPr lang="el-GR"/>
        </a:p>
      </dgm:t>
    </dgm:pt>
    <dgm:pt modelId="{38CEDD84-090E-4377-B5C7-87000A2B5F29}">
      <dgm:prSet phldrT="[Κείμενο]" custT="1"/>
      <dgm:spPr/>
      <dgm:t>
        <a:bodyPr/>
        <a:lstStyle/>
        <a:p>
          <a:r>
            <a:rPr lang="el-GR" sz="1600" u="none" dirty="0">
              <a:latin typeface="Calibri" panose="020F0502020204030204" pitchFamily="34" charset="0"/>
              <a:cs typeface="Calibri" panose="020F0502020204030204" pitchFamily="34" charset="0"/>
            </a:rPr>
            <a:t>Ο πολίτης λαμβάνει το SMS κατά τις εργάσιμες ημέρες και ώρες </a:t>
          </a:r>
          <a:endParaRPr lang="el-GR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0A547B3-315F-4FEF-8509-1ED00A5B8E4E}" type="parTrans" cxnId="{8BBFB82A-DD6B-4174-A497-92AFF3AAC137}">
      <dgm:prSet/>
      <dgm:spPr/>
      <dgm:t>
        <a:bodyPr/>
        <a:lstStyle/>
        <a:p>
          <a:endParaRPr lang="el-GR"/>
        </a:p>
      </dgm:t>
    </dgm:pt>
    <dgm:pt modelId="{86E1FECF-9FE6-4568-B809-E13C404680C4}" type="sibTrans" cxnId="{8BBFB82A-DD6B-4174-A497-92AFF3AAC137}">
      <dgm:prSet/>
      <dgm:spPr/>
      <dgm:t>
        <a:bodyPr/>
        <a:lstStyle/>
        <a:p>
          <a:endParaRPr lang="el-GR"/>
        </a:p>
      </dgm:t>
    </dgm:pt>
    <dgm:pt modelId="{384C9C28-3F03-4DCF-A033-23AF4BC700F7}">
      <dgm:prSet phldrT="[Κείμενο]" custT="1"/>
      <dgm:spPr/>
      <dgm:t>
        <a:bodyPr/>
        <a:lstStyle/>
        <a:p>
          <a:r>
            <a:rPr lang="el-GR" sz="1600" u="none" dirty="0">
              <a:latin typeface="Calibri" panose="020F0502020204030204" pitchFamily="34" charset="0"/>
              <a:cs typeface="Calibri" panose="020F0502020204030204" pitchFamily="34" charset="0"/>
            </a:rPr>
            <a:t>Προϋπόθεση να έχει ενεργοποιηθεί η άυλη συνταγογράφηση </a:t>
          </a:r>
        </a:p>
      </dgm:t>
    </dgm:pt>
    <dgm:pt modelId="{A45F50A0-C33D-496C-AAEA-D858C5882E88}" type="parTrans" cxnId="{C1121269-E274-4828-9AF7-08FA0182858E}">
      <dgm:prSet/>
      <dgm:spPr/>
      <dgm:t>
        <a:bodyPr/>
        <a:lstStyle/>
        <a:p>
          <a:endParaRPr lang="el-GR"/>
        </a:p>
      </dgm:t>
    </dgm:pt>
    <dgm:pt modelId="{8FF8ADB8-9CE2-4423-9341-4B730E6D97A5}" type="sibTrans" cxnId="{C1121269-E274-4828-9AF7-08FA0182858E}">
      <dgm:prSet/>
      <dgm:spPr/>
      <dgm:t>
        <a:bodyPr/>
        <a:lstStyle/>
        <a:p>
          <a:endParaRPr lang="el-GR"/>
        </a:p>
      </dgm:t>
    </dgm:pt>
    <dgm:pt modelId="{1EF50E5E-C709-4C9F-9B35-15562D70C743}">
      <dgm:prSet phldrT="[Κείμενο]" custT="1"/>
      <dgm:spPr/>
      <dgm:t>
        <a:bodyPr/>
        <a:lstStyle/>
        <a:p>
          <a:r>
            <a:rPr lang="el-GR" sz="1600" u="none" dirty="0">
              <a:latin typeface="Calibri" panose="020F0502020204030204" pitchFamily="34" charset="0"/>
              <a:cs typeface="Calibri" panose="020F0502020204030204" pitchFamily="34" charset="0"/>
            </a:rPr>
            <a:t>Η δυνατότητα αξιολόγησης παραμένει ενεργή για </a:t>
          </a:r>
          <a:r>
            <a:rPr lang="el-GR" sz="1600" b="1" u="none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7 ημέρες</a:t>
          </a:r>
          <a:endParaRPr lang="el-GR" b="1" dirty="0">
            <a:solidFill>
              <a:schemeClr val="tx2">
                <a:lumMod val="75000"/>
              </a:schemeClr>
            </a:solidFill>
          </a:endParaRPr>
        </a:p>
      </dgm:t>
    </dgm:pt>
    <dgm:pt modelId="{D488DDD4-7D82-4C7F-94D3-7A2B7BD1AD06}" type="parTrans" cxnId="{A1EC84C9-B2B4-4A12-9A24-ACAA256C8814}">
      <dgm:prSet/>
      <dgm:spPr/>
      <dgm:t>
        <a:bodyPr/>
        <a:lstStyle/>
        <a:p>
          <a:endParaRPr lang="el-GR"/>
        </a:p>
      </dgm:t>
    </dgm:pt>
    <dgm:pt modelId="{97487181-BEC3-46A7-B8C3-7B1C52CED203}" type="sibTrans" cxnId="{A1EC84C9-B2B4-4A12-9A24-ACAA256C8814}">
      <dgm:prSet/>
      <dgm:spPr/>
      <dgm:t>
        <a:bodyPr/>
        <a:lstStyle/>
        <a:p>
          <a:endParaRPr lang="el-GR"/>
        </a:p>
      </dgm:t>
    </dgm:pt>
    <dgm:pt modelId="{6ABAF23D-6843-4ACA-99EF-B981B782692B}" type="pres">
      <dgm:prSet presAssocID="{B26DD6AD-2879-4F06-9532-C8962069B6B5}" presName="linear" presStyleCnt="0">
        <dgm:presLayoutVars>
          <dgm:animLvl val="lvl"/>
          <dgm:resizeHandles val="exact"/>
        </dgm:presLayoutVars>
      </dgm:prSet>
      <dgm:spPr/>
    </dgm:pt>
    <dgm:pt modelId="{7F84259B-BFD2-4A90-8EED-85911352224A}" type="pres">
      <dgm:prSet presAssocID="{38CEDD84-090E-4377-B5C7-87000A2B5F29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B1D086A3-EC23-4860-8B10-8B63163B24BC}" type="pres">
      <dgm:prSet presAssocID="{86E1FECF-9FE6-4568-B809-E13C404680C4}" presName="spacer" presStyleCnt="0"/>
      <dgm:spPr/>
    </dgm:pt>
    <dgm:pt modelId="{D7458494-B6FE-4BCA-8078-ED7ED544B689}" type="pres">
      <dgm:prSet presAssocID="{384C9C28-3F03-4DCF-A033-23AF4BC700F7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25B0EA48-9F8B-4466-9AF2-5B438DACC9AA}" type="pres">
      <dgm:prSet presAssocID="{8FF8ADB8-9CE2-4423-9341-4B730E6D97A5}" presName="spacer" presStyleCnt="0"/>
      <dgm:spPr/>
    </dgm:pt>
    <dgm:pt modelId="{67287DB5-9066-4D27-B66D-14FFCAC64234}" type="pres">
      <dgm:prSet presAssocID="{1EF50E5E-C709-4C9F-9B35-15562D70C743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A854EF0C-26D0-4AFC-9886-8EAF38892D05}" type="presOf" srcId="{38CEDD84-090E-4377-B5C7-87000A2B5F29}" destId="{7F84259B-BFD2-4A90-8EED-85911352224A}" srcOrd="0" destOrd="0" presId="urn:microsoft.com/office/officeart/2005/8/layout/vList2"/>
    <dgm:cxn modelId="{A832C71B-1EF0-4CA8-88BB-3B89B0460712}" type="presOf" srcId="{384C9C28-3F03-4DCF-A033-23AF4BC700F7}" destId="{D7458494-B6FE-4BCA-8078-ED7ED544B689}" srcOrd="0" destOrd="0" presId="urn:microsoft.com/office/officeart/2005/8/layout/vList2"/>
    <dgm:cxn modelId="{8BBFB82A-DD6B-4174-A497-92AFF3AAC137}" srcId="{B26DD6AD-2879-4F06-9532-C8962069B6B5}" destId="{38CEDD84-090E-4377-B5C7-87000A2B5F29}" srcOrd="0" destOrd="0" parTransId="{70A547B3-315F-4FEF-8509-1ED00A5B8E4E}" sibTransId="{86E1FECF-9FE6-4568-B809-E13C404680C4}"/>
    <dgm:cxn modelId="{C1121269-E274-4828-9AF7-08FA0182858E}" srcId="{B26DD6AD-2879-4F06-9532-C8962069B6B5}" destId="{384C9C28-3F03-4DCF-A033-23AF4BC700F7}" srcOrd="1" destOrd="0" parTransId="{A45F50A0-C33D-496C-AAEA-D858C5882E88}" sibTransId="{8FF8ADB8-9CE2-4423-9341-4B730E6D97A5}"/>
    <dgm:cxn modelId="{234BC674-5485-4BF8-B557-3EE1004CA64F}" type="presOf" srcId="{1EF50E5E-C709-4C9F-9B35-15562D70C743}" destId="{67287DB5-9066-4D27-B66D-14FFCAC64234}" srcOrd="0" destOrd="0" presId="urn:microsoft.com/office/officeart/2005/8/layout/vList2"/>
    <dgm:cxn modelId="{A287AAB8-4BED-45D4-94DD-85B052B08404}" type="presOf" srcId="{B26DD6AD-2879-4F06-9532-C8962069B6B5}" destId="{6ABAF23D-6843-4ACA-99EF-B981B782692B}" srcOrd="0" destOrd="0" presId="urn:microsoft.com/office/officeart/2005/8/layout/vList2"/>
    <dgm:cxn modelId="{A1EC84C9-B2B4-4A12-9A24-ACAA256C8814}" srcId="{B26DD6AD-2879-4F06-9532-C8962069B6B5}" destId="{1EF50E5E-C709-4C9F-9B35-15562D70C743}" srcOrd="2" destOrd="0" parTransId="{D488DDD4-7D82-4C7F-94D3-7A2B7BD1AD06}" sibTransId="{97487181-BEC3-46A7-B8C3-7B1C52CED203}"/>
    <dgm:cxn modelId="{9701E4E0-0261-4D5D-A112-A32F77272AFE}" type="presParOf" srcId="{6ABAF23D-6843-4ACA-99EF-B981B782692B}" destId="{7F84259B-BFD2-4A90-8EED-85911352224A}" srcOrd="0" destOrd="0" presId="urn:microsoft.com/office/officeart/2005/8/layout/vList2"/>
    <dgm:cxn modelId="{32B9B8C9-C841-45BE-B8B2-C6B8CF81BA6E}" type="presParOf" srcId="{6ABAF23D-6843-4ACA-99EF-B981B782692B}" destId="{B1D086A3-EC23-4860-8B10-8B63163B24BC}" srcOrd="1" destOrd="0" presId="urn:microsoft.com/office/officeart/2005/8/layout/vList2"/>
    <dgm:cxn modelId="{7B952AEF-37A6-4834-8CA1-5D98E376DAF8}" type="presParOf" srcId="{6ABAF23D-6843-4ACA-99EF-B981B782692B}" destId="{D7458494-B6FE-4BCA-8078-ED7ED544B689}" srcOrd="2" destOrd="0" presId="urn:microsoft.com/office/officeart/2005/8/layout/vList2"/>
    <dgm:cxn modelId="{79DA406D-3F23-4561-98A1-4E260DAD3FDA}" type="presParOf" srcId="{6ABAF23D-6843-4ACA-99EF-B981B782692B}" destId="{25B0EA48-9F8B-4466-9AF2-5B438DACC9AA}" srcOrd="3" destOrd="0" presId="urn:microsoft.com/office/officeart/2005/8/layout/vList2"/>
    <dgm:cxn modelId="{72A69547-5653-49BB-A05F-820F5FAFA2C7}" type="presParOf" srcId="{6ABAF23D-6843-4ACA-99EF-B981B782692B}" destId="{67287DB5-9066-4D27-B66D-14FFCAC64234}" srcOrd="4" destOrd="0" presId="urn:microsoft.com/office/officeart/2005/8/layout/vList2"/>
  </dgm:cxnLst>
  <dgm:bg/>
  <dgm:whole>
    <a:ln w="9525" cap="flat" cmpd="dbl" algn="ctr">
      <a:gradFill>
        <a:gsLst>
          <a:gs pos="0">
            <a:schemeClr val="accent1">
              <a:lumMod val="5000"/>
              <a:lumOff val="95000"/>
            </a:schemeClr>
          </a:gs>
          <a:gs pos="100000">
            <a:schemeClr val="accent1">
              <a:lumMod val="45000"/>
              <a:lumOff val="55000"/>
            </a:schemeClr>
          </a:gs>
          <a:gs pos="83000">
            <a:schemeClr val="accent1">
              <a:lumMod val="45000"/>
              <a:lumOff val="55000"/>
            </a:schemeClr>
          </a:gs>
          <a:gs pos="100000">
            <a:schemeClr val="accent1">
              <a:lumMod val="30000"/>
              <a:lumOff val="70000"/>
            </a:schemeClr>
          </a:gs>
        </a:gsLst>
        <a:lin ang="5400000" scaled="1"/>
      </a:gradFill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F800223-DF78-41B0-8B5C-81B971AD160E}" type="doc">
      <dgm:prSet loTypeId="urn:microsoft.com/office/officeart/2005/8/layout/default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el-GR"/>
        </a:p>
      </dgm:t>
    </dgm:pt>
    <dgm:pt modelId="{63C41AFC-E9AA-4BC3-8B4E-06ABD8267DD5}">
      <dgm:prSet phldrT="[Κείμενο]" custT="1"/>
      <dgm:spPr/>
      <dgm:t>
        <a:bodyPr/>
        <a:lstStyle/>
        <a:p>
          <a:pPr algn="ctr"/>
          <a:r>
            <a:rPr lang="el-GR" sz="1600" b="1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Υπουργείο Υγείας </a:t>
          </a:r>
        </a:p>
        <a:p>
          <a:pPr algn="ctr"/>
          <a:r>
            <a:rPr lang="el-GR" sz="1600" dirty="0">
              <a:latin typeface="Calibri" panose="020F0502020204030204" pitchFamily="34" charset="0"/>
              <a:cs typeface="Calibri" panose="020F0502020204030204" pitchFamily="34" charset="0"/>
            </a:rPr>
            <a:t>Πρόσβαση στο σύνολο των δεδομένων </a:t>
          </a:r>
        </a:p>
      </dgm:t>
    </dgm:pt>
    <dgm:pt modelId="{F2325491-A9A2-473B-A8E4-168BF211C89D}" type="parTrans" cxnId="{0EA09CB1-2467-4410-A926-0C9666E43E4A}">
      <dgm:prSet/>
      <dgm:spPr/>
      <dgm:t>
        <a:bodyPr/>
        <a:lstStyle/>
        <a:p>
          <a:pPr algn="ctr"/>
          <a:endParaRPr lang="el-GR"/>
        </a:p>
      </dgm:t>
    </dgm:pt>
    <dgm:pt modelId="{CF90FFB9-4A95-4A9E-A6DA-1A3BFC42163E}" type="sibTrans" cxnId="{0EA09CB1-2467-4410-A926-0C9666E43E4A}">
      <dgm:prSet/>
      <dgm:spPr/>
      <dgm:t>
        <a:bodyPr/>
        <a:lstStyle/>
        <a:p>
          <a:pPr algn="ctr"/>
          <a:endParaRPr lang="el-GR"/>
        </a:p>
      </dgm:t>
    </dgm:pt>
    <dgm:pt modelId="{B6361187-1EC5-4411-A4AC-0A990803C301}">
      <dgm:prSet phldrT="[Κείμενο]" custT="1"/>
      <dgm:spPr/>
      <dgm:t>
        <a:bodyPr/>
        <a:lstStyle/>
        <a:p>
          <a:pPr algn="ctr"/>
          <a:endParaRPr lang="el-GR" sz="16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ctr"/>
          <a:r>
            <a:rPr lang="el-GR" sz="1600" b="1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Δ.Υ.Πε. </a:t>
          </a:r>
        </a:p>
        <a:p>
          <a:pPr algn="ctr"/>
          <a:r>
            <a:rPr lang="el-GR" sz="1600" dirty="0">
              <a:latin typeface="Calibri" panose="020F0502020204030204" pitchFamily="34" charset="0"/>
              <a:cs typeface="Calibri" panose="020F0502020204030204" pitchFamily="34" charset="0"/>
            </a:rPr>
            <a:t>Πρόσβαση στα δεδομένα των νοσοκομείων αρμοδιότητάς της</a:t>
          </a:r>
        </a:p>
        <a:p>
          <a:pPr algn="ctr"/>
          <a:endParaRPr lang="el-GR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A771FA0-659B-40C7-88D1-A8037E6B2DE0}" type="parTrans" cxnId="{AF6C87D3-7FEB-4287-865A-EB29AEC7F56E}">
      <dgm:prSet/>
      <dgm:spPr/>
      <dgm:t>
        <a:bodyPr/>
        <a:lstStyle/>
        <a:p>
          <a:pPr algn="ctr"/>
          <a:endParaRPr lang="el-GR"/>
        </a:p>
      </dgm:t>
    </dgm:pt>
    <dgm:pt modelId="{71EE8F9F-0E13-48A3-B3AE-DE449F02B956}" type="sibTrans" cxnId="{AF6C87D3-7FEB-4287-865A-EB29AEC7F56E}">
      <dgm:prSet/>
      <dgm:spPr/>
      <dgm:t>
        <a:bodyPr/>
        <a:lstStyle/>
        <a:p>
          <a:pPr algn="ctr"/>
          <a:endParaRPr lang="el-GR"/>
        </a:p>
      </dgm:t>
    </dgm:pt>
    <dgm:pt modelId="{0EEE27A2-2575-40FB-B6BF-348334F08AFE}">
      <dgm:prSet phldrT="[Κείμενο]" custT="1"/>
      <dgm:spPr/>
      <dgm:t>
        <a:bodyPr/>
        <a:lstStyle/>
        <a:p>
          <a:pPr algn="ctr"/>
          <a:r>
            <a:rPr lang="el-GR" sz="1600" b="1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Νοσοκομεία </a:t>
          </a:r>
        </a:p>
        <a:p>
          <a:pPr algn="ctr"/>
          <a:r>
            <a:rPr lang="el-GR" sz="1600" dirty="0">
              <a:latin typeface="Calibri" panose="020F0502020204030204" pitchFamily="34" charset="0"/>
              <a:cs typeface="Calibri" panose="020F0502020204030204" pitchFamily="34" charset="0"/>
            </a:rPr>
            <a:t>Πρόσβαση στα δεδομένα που αφορούν στο συγκεκριμένο νοσοκομείο</a:t>
          </a:r>
        </a:p>
      </dgm:t>
    </dgm:pt>
    <dgm:pt modelId="{765277D8-F392-4A22-82A9-16335F341491}" type="parTrans" cxnId="{815CC7F4-7F71-497D-B1F6-0A028B6CC4BB}">
      <dgm:prSet/>
      <dgm:spPr/>
      <dgm:t>
        <a:bodyPr/>
        <a:lstStyle/>
        <a:p>
          <a:pPr algn="ctr"/>
          <a:endParaRPr lang="el-GR"/>
        </a:p>
      </dgm:t>
    </dgm:pt>
    <dgm:pt modelId="{737A965C-4985-492F-A444-34D84E829817}" type="sibTrans" cxnId="{815CC7F4-7F71-497D-B1F6-0A028B6CC4BB}">
      <dgm:prSet/>
      <dgm:spPr/>
      <dgm:t>
        <a:bodyPr/>
        <a:lstStyle/>
        <a:p>
          <a:pPr algn="ctr"/>
          <a:endParaRPr lang="el-GR"/>
        </a:p>
      </dgm:t>
    </dgm:pt>
    <dgm:pt modelId="{28B4A2B3-B661-4012-BA08-8F6ED3944CF9}" type="pres">
      <dgm:prSet presAssocID="{EF800223-DF78-41B0-8B5C-81B971AD160E}" presName="diagram" presStyleCnt="0">
        <dgm:presLayoutVars>
          <dgm:dir/>
          <dgm:resizeHandles val="exact"/>
        </dgm:presLayoutVars>
      </dgm:prSet>
      <dgm:spPr/>
    </dgm:pt>
    <dgm:pt modelId="{49E63647-0D37-42E9-8757-67D0034D7BDB}" type="pres">
      <dgm:prSet presAssocID="{63C41AFC-E9AA-4BC3-8B4E-06ABD8267DD5}" presName="node" presStyleLbl="node1" presStyleIdx="0" presStyleCnt="3">
        <dgm:presLayoutVars>
          <dgm:bulletEnabled val="1"/>
        </dgm:presLayoutVars>
      </dgm:prSet>
      <dgm:spPr/>
    </dgm:pt>
    <dgm:pt modelId="{8E855EC4-C695-4E1F-B86E-7DCA78329686}" type="pres">
      <dgm:prSet presAssocID="{CF90FFB9-4A95-4A9E-A6DA-1A3BFC42163E}" presName="sibTrans" presStyleCnt="0"/>
      <dgm:spPr/>
    </dgm:pt>
    <dgm:pt modelId="{94F775C0-D8C3-4FA5-A4FE-F863321B7632}" type="pres">
      <dgm:prSet presAssocID="{B6361187-1EC5-4411-A4AC-0A990803C301}" presName="node" presStyleLbl="node1" presStyleIdx="1" presStyleCnt="3">
        <dgm:presLayoutVars>
          <dgm:bulletEnabled val="1"/>
        </dgm:presLayoutVars>
      </dgm:prSet>
      <dgm:spPr/>
    </dgm:pt>
    <dgm:pt modelId="{CBF41A14-7F1B-4721-A3C9-846F65F77EED}" type="pres">
      <dgm:prSet presAssocID="{71EE8F9F-0E13-48A3-B3AE-DE449F02B956}" presName="sibTrans" presStyleCnt="0"/>
      <dgm:spPr/>
    </dgm:pt>
    <dgm:pt modelId="{9699D65D-6981-4DCB-82D0-15AA38A26611}" type="pres">
      <dgm:prSet presAssocID="{0EEE27A2-2575-40FB-B6BF-348334F08AFE}" presName="node" presStyleLbl="node1" presStyleIdx="2" presStyleCnt="3">
        <dgm:presLayoutVars>
          <dgm:bulletEnabled val="1"/>
        </dgm:presLayoutVars>
      </dgm:prSet>
      <dgm:spPr/>
    </dgm:pt>
  </dgm:ptLst>
  <dgm:cxnLst>
    <dgm:cxn modelId="{EEBF3F08-218B-4107-A208-587CE3FDB18A}" type="presOf" srcId="{EF800223-DF78-41B0-8B5C-81B971AD160E}" destId="{28B4A2B3-B661-4012-BA08-8F6ED3944CF9}" srcOrd="0" destOrd="0" presId="urn:microsoft.com/office/officeart/2005/8/layout/default"/>
    <dgm:cxn modelId="{198FCB65-B9D2-481B-9727-9866130E5700}" type="presOf" srcId="{B6361187-1EC5-4411-A4AC-0A990803C301}" destId="{94F775C0-D8C3-4FA5-A4FE-F863321B7632}" srcOrd="0" destOrd="0" presId="urn:microsoft.com/office/officeart/2005/8/layout/default"/>
    <dgm:cxn modelId="{7897FE54-3C3D-4EC4-9D4F-8597CBB172E7}" type="presOf" srcId="{0EEE27A2-2575-40FB-B6BF-348334F08AFE}" destId="{9699D65D-6981-4DCB-82D0-15AA38A26611}" srcOrd="0" destOrd="0" presId="urn:microsoft.com/office/officeart/2005/8/layout/default"/>
    <dgm:cxn modelId="{0EA09CB1-2467-4410-A926-0C9666E43E4A}" srcId="{EF800223-DF78-41B0-8B5C-81B971AD160E}" destId="{63C41AFC-E9AA-4BC3-8B4E-06ABD8267DD5}" srcOrd="0" destOrd="0" parTransId="{F2325491-A9A2-473B-A8E4-168BF211C89D}" sibTransId="{CF90FFB9-4A95-4A9E-A6DA-1A3BFC42163E}"/>
    <dgm:cxn modelId="{3BE338C7-86DA-4A76-BDC4-14644BCE64C9}" type="presOf" srcId="{63C41AFC-E9AA-4BC3-8B4E-06ABD8267DD5}" destId="{49E63647-0D37-42E9-8757-67D0034D7BDB}" srcOrd="0" destOrd="0" presId="urn:microsoft.com/office/officeart/2005/8/layout/default"/>
    <dgm:cxn modelId="{AF6C87D3-7FEB-4287-865A-EB29AEC7F56E}" srcId="{EF800223-DF78-41B0-8B5C-81B971AD160E}" destId="{B6361187-1EC5-4411-A4AC-0A990803C301}" srcOrd="1" destOrd="0" parTransId="{BA771FA0-659B-40C7-88D1-A8037E6B2DE0}" sibTransId="{71EE8F9F-0E13-48A3-B3AE-DE449F02B956}"/>
    <dgm:cxn modelId="{815CC7F4-7F71-497D-B1F6-0A028B6CC4BB}" srcId="{EF800223-DF78-41B0-8B5C-81B971AD160E}" destId="{0EEE27A2-2575-40FB-B6BF-348334F08AFE}" srcOrd="2" destOrd="0" parTransId="{765277D8-F392-4A22-82A9-16335F341491}" sibTransId="{737A965C-4985-492F-A444-34D84E829817}"/>
    <dgm:cxn modelId="{A24D2781-D7A7-452C-BE9A-B56BFFFFCD5D}" type="presParOf" srcId="{28B4A2B3-B661-4012-BA08-8F6ED3944CF9}" destId="{49E63647-0D37-42E9-8757-67D0034D7BDB}" srcOrd="0" destOrd="0" presId="urn:microsoft.com/office/officeart/2005/8/layout/default"/>
    <dgm:cxn modelId="{388DFC20-C566-46F3-9547-148EEDAC619A}" type="presParOf" srcId="{28B4A2B3-B661-4012-BA08-8F6ED3944CF9}" destId="{8E855EC4-C695-4E1F-B86E-7DCA78329686}" srcOrd="1" destOrd="0" presId="urn:microsoft.com/office/officeart/2005/8/layout/default"/>
    <dgm:cxn modelId="{A8599FE7-E0B2-4D07-BB4F-861F88731093}" type="presParOf" srcId="{28B4A2B3-B661-4012-BA08-8F6ED3944CF9}" destId="{94F775C0-D8C3-4FA5-A4FE-F863321B7632}" srcOrd="2" destOrd="0" presId="urn:microsoft.com/office/officeart/2005/8/layout/default"/>
    <dgm:cxn modelId="{AC2F5E01-D98C-4968-B05B-B4E0AEB5399A}" type="presParOf" srcId="{28B4A2B3-B661-4012-BA08-8F6ED3944CF9}" destId="{CBF41A14-7F1B-4721-A3C9-846F65F77EED}" srcOrd="3" destOrd="0" presId="urn:microsoft.com/office/officeart/2005/8/layout/default"/>
    <dgm:cxn modelId="{7EA4909F-998A-47A7-96FD-CC43D6193E7E}" type="presParOf" srcId="{28B4A2B3-B661-4012-BA08-8F6ED3944CF9}" destId="{9699D65D-6981-4DCB-82D0-15AA38A26611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434B6C83-FD7D-42FA-B80C-90CC3222DA96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5F982E2D-3D1C-4608-B590-DD17B1325796}">
      <dgm:prSet phldrT="[Κείμενο]" custT="1"/>
      <dgm:spPr/>
      <dgm:t>
        <a:bodyPr/>
        <a:lstStyle/>
        <a:p>
          <a:pPr algn="ctr"/>
          <a:endParaRPr lang="en-US" sz="1900" b="1" dirty="0">
            <a:solidFill>
              <a:schemeClr val="tx2">
                <a:lumMod val="7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algn="ctr"/>
          <a:endParaRPr lang="el-GR" sz="1800" b="0" dirty="0">
            <a:solidFill>
              <a:schemeClr val="tx2">
                <a:lumMod val="7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algn="ctr"/>
          <a:endParaRPr lang="el-GR" sz="1400" b="0" dirty="0">
            <a:solidFill>
              <a:schemeClr val="tx2">
                <a:lumMod val="7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algn="ctr"/>
          <a:endParaRPr lang="el-GR" sz="1400" b="0" dirty="0">
            <a:solidFill>
              <a:schemeClr val="tx2">
                <a:lumMod val="7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algn="ctr"/>
          <a:r>
            <a:rPr lang="el-GR" sz="1600" b="1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Τα </a:t>
          </a:r>
        </a:p>
        <a:p>
          <a:pPr algn="ctr"/>
          <a:r>
            <a:rPr lang="el-GR" sz="1600" b="1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(ανωνυμοποιημένα) Δεδομένα </a:t>
          </a:r>
        </a:p>
      </dgm:t>
    </dgm:pt>
    <dgm:pt modelId="{D8AC2BB0-CAC8-42B5-9E17-D3559277CB19}" type="parTrans" cxnId="{925F101D-44C0-41AE-8AC4-C3D32A0E7B3C}">
      <dgm:prSet/>
      <dgm:spPr/>
      <dgm:t>
        <a:bodyPr/>
        <a:lstStyle/>
        <a:p>
          <a:endParaRPr lang="el-GR"/>
        </a:p>
      </dgm:t>
    </dgm:pt>
    <dgm:pt modelId="{85106D44-7BA0-4491-87B9-2B9E7BF6BBD3}" type="sibTrans" cxnId="{925F101D-44C0-41AE-8AC4-C3D32A0E7B3C}">
      <dgm:prSet/>
      <dgm:spPr/>
      <dgm:t>
        <a:bodyPr/>
        <a:lstStyle/>
        <a:p>
          <a:endParaRPr lang="el-GR"/>
        </a:p>
      </dgm:t>
    </dgm:pt>
    <dgm:pt modelId="{764AED33-0CF4-4717-9F30-5888B2FED80C}">
      <dgm:prSet phldrT="[Κείμενο]" custT="1"/>
      <dgm:spPr/>
      <dgm:t>
        <a:bodyPr anchor="ctr"/>
        <a:lstStyle/>
        <a:p>
          <a:r>
            <a:rPr lang="el-GR" sz="1400" dirty="0">
              <a:latin typeface="Calibri" panose="020F0502020204030204" pitchFamily="34" charset="0"/>
              <a:cs typeface="Calibri" panose="020F0502020204030204" pitchFamily="34" charset="0"/>
            </a:rPr>
            <a:t>Συλλέγονται &amp; αποθηκεύονται σε </a:t>
          </a:r>
          <a:r>
            <a:rPr lang="el-GR" sz="1400" b="1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ιστορική βάση δεδομένων</a:t>
          </a:r>
          <a:r>
            <a:rPr lang="el-GR" sz="1400" dirty="0">
              <a:latin typeface="Calibri" panose="020F0502020204030204" pitchFamily="34" charset="0"/>
              <a:cs typeface="Calibri" panose="020F0502020204030204" pitchFamily="34" charset="0"/>
            </a:rPr>
            <a:t>. </a:t>
          </a:r>
        </a:p>
      </dgm:t>
    </dgm:pt>
    <dgm:pt modelId="{F969EA0D-AD00-4784-9230-93CCE59141AD}" type="parTrans" cxnId="{200FA0BE-BCEE-4563-AA9A-8AB8C4D934F3}">
      <dgm:prSet/>
      <dgm:spPr/>
      <dgm:t>
        <a:bodyPr/>
        <a:lstStyle/>
        <a:p>
          <a:endParaRPr lang="el-GR"/>
        </a:p>
      </dgm:t>
    </dgm:pt>
    <dgm:pt modelId="{1C4E2925-CB9E-4C97-B04F-60F26B8ADEB0}" type="sibTrans" cxnId="{200FA0BE-BCEE-4563-AA9A-8AB8C4D934F3}">
      <dgm:prSet/>
      <dgm:spPr/>
      <dgm:t>
        <a:bodyPr/>
        <a:lstStyle/>
        <a:p>
          <a:endParaRPr lang="el-GR"/>
        </a:p>
      </dgm:t>
    </dgm:pt>
    <dgm:pt modelId="{E3F5DE3A-C5EE-44F5-A5F1-1B490CBBF8B3}">
      <dgm:prSet custT="1"/>
      <dgm:spPr/>
      <dgm:t>
        <a:bodyPr anchor="ctr"/>
        <a:lstStyle/>
        <a:p>
          <a:r>
            <a:rPr lang="el-GR" sz="1400" dirty="0">
              <a:latin typeface="Calibri" panose="020F0502020204030204" pitchFamily="34" charset="0"/>
              <a:cs typeface="Calibri" panose="020F0502020204030204" pitchFamily="34" charset="0"/>
            </a:rPr>
            <a:t>Παρέχεται η δυνατότητα συγκεντρωτικής παρουσίασής τους σε </a:t>
          </a:r>
          <a:r>
            <a:rPr lang="el-GR" sz="1400" b="1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σύστημα διοικητικής πληροφόρησης</a:t>
          </a:r>
          <a:r>
            <a:rPr lang="el-GR" sz="1400" dirty="0">
              <a:latin typeface="Calibri" panose="020F0502020204030204" pitchFamily="34" charset="0"/>
              <a:cs typeface="Calibri" panose="020F0502020204030204" pitchFamily="34" charset="0"/>
            </a:rPr>
            <a:t>.</a:t>
          </a:r>
        </a:p>
      </dgm:t>
    </dgm:pt>
    <dgm:pt modelId="{022F0975-CBC1-4BB4-98D4-936DE071BB88}" type="parTrans" cxnId="{1498959A-50EE-4565-A909-7132DFAD948D}">
      <dgm:prSet/>
      <dgm:spPr/>
      <dgm:t>
        <a:bodyPr/>
        <a:lstStyle/>
        <a:p>
          <a:endParaRPr lang="el-GR"/>
        </a:p>
      </dgm:t>
    </dgm:pt>
    <dgm:pt modelId="{55C5B64F-B734-4DEC-9E5E-7B5982D34D43}" type="sibTrans" cxnId="{1498959A-50EE-4565-A909-7132DFAD948D}">
      <dgm:prSet/>
      <dgm:spPr/>
      <dgm:t>
        <a:bodyPr/>
        <a:lstStyle/>
        <a:p>
          <a:endParaRPr lang="el-GR"/>
        </a:p>
      </dgm:t>
    </dgm:pt>
    <dgm:pt modelId="{D2D8DDF2-8EEB-405A-8207-8887C244243C}">
      <dgm:prSet custT="1"/>
      <dgm:spPr/>
      <dgm:t>
        <a:bodyPr anchor="ctr"/>
        <a:lstStyle/>
        <a:p>
          <a:r>
            <a:rPr lang="el-GR" sz="1400" dirty="0">
              <a:latin typeface="Calibri" panose="020F0502020204030204" pitchFamily="34" charset="0"/>
              <a:cs typeface="Calibri" panose="020F0502020204030204" pitchFamily="34" charset="0"/>
            </a:rPr>
            <a:t>Προβλέπεται </a:t>
          </a:r>
          <a:r>
            <a:rPr lang="el-GR" sz="1400" b="1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διαβαθμισμένη πρόσβαση </a:t>
          </a:r>
          <a:r>
            <a:rPr lang="el-GR" sz="1400" dirty="0">
              <a:latin typeface="Calibri" panose="020F0502020204030204" pitchFamily="34" charset="0"/>
              <a:cs typeface="Calibri" panose="020F0502020204030204" pitchFamily="34" charset="0"/>
            </a:rPr>
            <a:t>στα δεδομένα, μόνο σε εξουσιοδοτημένους χρήστες. </a:t>
          </a:r>
        </a:p>
      </dgm:t>
    </dgm:pt>
    <dgm:pt modelId="{5774FABD-CDC8-4C3A-8A31-8772B9971465}" type="parTrans" cxnId="{C771CAC1-C018-428D-B6CF-A42F6468E8FA}">
      <dgm:prSet/>
      <dgm:spPr/>
      <dgm:t>
        <a:bodyPr/>
        <a:lstStyle/>
        <a:p>
          <a:endParaRPr lang="el-GR"/>
        </a:p>
      </dgm:t>
    </dgm:pt>
    <dgm:pt modelId="{9772F416-AD1B-4855-9918-F80A0B56B5AC}" type="sibTrans" cxnId="{C771CAC1-C018-428D-B6CF-A42F6468E8FA}">
      <dgm:prSet/>
      <dgm:spPr/>
      <dgm:t>
        <a:bodyPr/>
        <a:lstStyle/>
        <a:p>
          <a:endParaRPr lang="el-GR"/>
        </a:p>
      </dgm:t>
    </dgm:pt>
    <dgm:pt modelId="{FAB40D01-EDD6-46BA-970F-089365516A13}">
      <dgm:prSet custT="1"/>
      <dgm:spPr/>
      <dgm:t>
        <a:bodyPr anchor="ctr"/>
        <a:lstStyle/>
        <a:p>
          <a:r>
            <a:rPr lang="el-GR" sz="1400" dirty="0">
              <a:latin typeface="Calibri" panose="020F0502020204030204" pitchFamily="34" charset="0"/>
              <a:cs typeface="Calibri" panose="020F0502020204030204" pitchFamily="34" charset="0"/>
            </a:rPr>
            <a:t>Συγκεντρώνονται σε </a:t>
          </a:r>
          <a:r>
            <a:rPr lang="el-GR" sz="1400" b="1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Ετήσια Έκθεση Πεπραγμένων</a:t>
          </a:r>
          <a:r>
            <a:rPr lang="el-GR" sz="1400" dirty="0">
              <a:latin typeface="Calibri" panose="020F0502020204030204" pitchFamily="34" charset="0"/>
              <a:cs typeface="Calibri" panose="020F0502020204030204" pitchFamily="34" charset="0"/>
            </a:rPr>
            <a:t>, όπου αναφέρονται τα θετικά σημεία, οι αδυναμίες &amp; οι ενέργειες για την επίλυση των προβλημάτων που εντοπίστηκαν. </a:t>
          </a:r>
        </a:p>
      </dgm:t>
    </dgm:pt>
    <dgm:pt modelId="{2AD682F5-1CEC-48E7-8560-C537439B636A}" type="parTrans" cxnId="{14D16835-DB04-4B4C-B0E8-B19B1E9084B1}">
      <dgm:prSet/>
      <dgm:spPr/>
      <dgm:t>
        <a:bodyPr/>
        <a:lstStyle/>
        <a:p>
          <a:endParaRPr lang="el-GR"/>
        </a:p>
      </dgm:t>
    </dgm:pt>
    <dgm:pt modelId="{DBD79FA2-109B-46C5-8480-3BA6EB0DE9FE}" type="sibTrans" cxnId="{14D16835-DB04-4B4C-B0E8-B19B1E9084B1}">
      <dgm:prSet/>
      <dgm:spPr/>
      <dgm:t>
        <a:bodyPr/>
        <a:lstStyle/>
        <a:p>
          <a:endParaRPr lang="el-GR"/>
        </a:p>
      </dgm:t>
    </dgm:pt>
    <dgm:pt modelId="{BA61D25F-0618-4EF1-AE87-ED564F80AB57}">
      <dgm:prSet custT="1"/>
      <dgm:spPr/>
      <dgm:t>
        <a:bodyPr/>
        <a:lstStyle/>
        <a:p>
          <a:r>
            <a:rPr lang="el-GR" sz="1400" dirty="0">
              <a:latin typeface="Calibri" panose="020F0502020204030204" pitchFamily="34" charset="0"/>
              <a:cs typeface="Calibri" panose="020F0502020204030204" pitchFamily="34" charset="0"/>
            </a:rPr>
            <a:t>Βάσει των δεδομένων προκύπτει </a:t>
          </a:r>
          <a:r>
            <a:rPr lang="el-GR" sz="1400" b="1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συγκεκριμένη βαθμολογία </a:t>
          </a:r>
          <a:r>
            <a:rPr lang="el-GR" sz="1400" u="sng" dirty="0">
              <a:latin typeface="Calibri" panose="020F0502020204030204" pitchFamily="34" charset="0"/>
              <a:cs typeface="Calibri" panose="020F0502020204030204" pitchFamily="34" charset="0"/>
            </a:rPr>
            <a:t>ανά Άξονα Αξιολόγησης, ανά νοσοκομείο και ανά κλινική</a:t>
          </a:r>
          <a:r>
            <a:rPr lang="el-GR" sz="1400" dirty="0">
              <a:latin typeface="Calibri" panose="020F0502020204030204" pitchFamily="34" charset="0"/>
              <a:cs typeface="Calibri" panose="020F0502020204030204" pitchFamily="34" charset="0"/>
            </a:rPr>
            <a:t>, ώστε να είναι εφικτή η συστηματική και διαχρονική παρακολούθηση &amp; αποτίμηση της πορείας στον χρόνο, καθώς και η πραγματοποίηση συγκρίσεων. </a:t>
          </a:r>
        </a:p>
      </dgm:t>
    </dgm:pt>
    <dgm:pt modelId="{608E29AB-DF81-45FF-9266-7728C15B8C13}" type="parTrans" cxnId="{A8C34F22-5F38-4C1E-86A4-4E288B2671D9}">
      <dgm:prSet/>
      <dgm:spPr/>
      <dgm:t>
        <a:bodyPr/>
        <a:lstStyle/>
        <a:p>
          <a:endParaRPr lang="el-GR"/>
        </a:p>
      </dgm:t>
    </dgm:pt>
    <dgm:pt modelId="{12DF9CB1-A379-45CE-9D36-0AAFF1953E25}" type="sibTrans" cxnId="{A8C34F22-5F38-4C1E-86A4-4E288B2671D9}">
      <dgm:prSet/>
      <dgm:spPr/>
      <dgm:t>
        <a:bodyPr/>
        <a:lstStyle/>
        <a:p>
          <a:endParaRPr lang="el-GR"/>
        </a:p>
      </dgm:t>
    </dgm:pt>
    <dgm:pt modelId="{1A598CFB-F607-405B-A190-EDEA92695276}" type="pres">
      <dgm:prSet presAssocID="{434B6C83-FD7D-42FA-B80C-90CC3222DA96}" presName="vert0" presStyleCnt="0">
        <dgm:presLayoutVars>
          <dgm:dir/>
          <dgm:animOne val="branch"/>
          <dgm:animLvl val="lvl"/>
        </dgm:presLayoutVars>
      </dgm:prSet>
      <dgm:spPr/>
    </dgm:pt>
    <dgm:pt modelId="{BF69B51B-3B8F-4A1B-AE60-6ECEE7A127BC}" type="pres">
      <dgm:prSet presAssocID="{5F982E2D-3D1C-4608-B590-DD17B1325796}" presName="thickLine" presStyleLbl="alignNode1" presStyleIdx="0" presStyleCnt="1"/>
      <dgm:spPr/>
    </dgm:pt>
    <dgm:pt modelId="{54474EFC-DFA9-4586-907C-B4A227449E06}" type="pres">
      <dgm:prSet presAssocID="{5F982E2D-3D1C-4608-B590-DD17B1325796}" presName="horz1" presStyleCnt="0"/>
      <dgm:spPr/>
    </dgm:pt>
    <dgm:pt modelId="{03466D7F-F857-40CF-9037-5044E5F5CAB2}" type="pres">
      <dgm:prSet presAssocID="{5F982E2D-3D1C-4608-B590-DD17B1325796}" presName="tx1" presStyleLbl="revTx" presStyleIdx="0" presStyleCnt="6"/>
      <dgm:spPr/>
    </dgm:pt>
    <dgm:pt modelId="{A975AE7F-D484-4266-BF86-24B92D8CE5C2}" type="pres">
      <dgm:prSet presAssocID="{5F982E2D-3D1C-4608-B590-DD17B1325796}" presName="vert1" presStyleCnt="0"/>
      <dgm:spPr/>
    </dgm:pt>
    <dgm:pt modelId="{1DBADAF0-DB19-407F-B2D5-D3EC4B771066}" type="pres">
      <dgm:prSet presAssocID="{764AED33-0CF4-4717-9F30-5888B2FED80C}" presName="vertSpace2a" presStyleCnt="0"/>
      <dgm:spPr/>
    </dgm:pt>
    <dgm:pt modelId="{EBA2548F-903C-4015-8349-1EAB06BE325F}" type="pres">
      <dgm:prSet presAssocID="{764AED33-0CF4-4717-9F30-5888B2FED80C}" presName="horz2" presStyleCnt="0"/>
      <dgm:spPr/>
    </dgm:pt>
    <dgm:pt modelId="{306963D8-91D6-4B90-8097-0B5EC16BEFF8}" type="pres">
      <dgm:prSet presAssocID="{764AED33-0CF4-4717-9F30-5888B2FED80C}" presName="horzSpace2" presStyleCnt="0"/>
      <dgm:spPr/>
    </dgm:pt>
    <dgm:pt modelId="{BED67B0F-0932-4CD7-BEF7-96CB730C9BBA}" type="pres">
      <dgm:prSet presAssocID="{764AED33-0CF4-4717-9F30-5888B2FED80C}" presName="tx2" presStyleLbl="revTx" presStyleIdx="1" presStyleCnt="6"/>
      <dgm:spPr/>
    </dgm:pt>
    <dgm:pt modelId="{93CBAD0C-561E-4283-809E-6966CF2A8D6A}" type="pres">
      <dgm:prSet presAssocID="{764AED33-0CF4-4717-9F30-5888B2FED80C}" presName="vert2" presStyleCnt="0"/>
      <dgm:spPr/>
    </dgm:pt>
    <dgm:pt modelId="{C81C7ED6-39D1-4904-976C-998508D1B108}" type="pres">
      <dgm:prSet presAssocID="{764AED33-0CF4-4717-9F30-5888B2FED80C}" presName="thinLine2b" presStyleLbl="callout" presStyleIdx="0" presStyleCnt="5"/>
      <dgm:spPr/>
    </dgm:pt>
    <dgm:pt modelId="{B229E7A1-12CA-4373-B4D0-D17087B8D1C3}" type="pres">
      <dgm:prSet presAssocID="{764AED33-0CF4-4717-9F30-5888B2FED80C}" presName="vertSpace2b" presStyleCnt="0"/>
      <dgm:spPr/>
    </dgm:pt>
    <dgm:pt modelId="{0FDB58A5-E491-4DF6-998E-99AA4DF7DB5B}" type="pres">
      <dgm:prSet presAssocID="{E3F5DE3A-C5EE-44F5-A5F1-1B490CBBF8B3}" presName="horz2" presStyleCnt="0"/>
      <dgm:spPr/>
    </dgm:pt>
    <dgm:pt modelId="{11E89507-6224-4E77-965C-C73394CEBDEA}" type="pres">
      <dgm:prSet presAssocID="{E3F5DE3A-C5EE-44F5-A5F1-1B490CBBF8B3}" presName="horzSpace2" presStyleCnt="0"/>
      <dgm:spPr/>
    </dgm:pt>
    <dgm:pt modelId="{F55BCBDC-710A-497F-8D7B-C999147E3A7A}" type="pres">
      <dgm:prSet presAssocID="{E3F5DE3A-C5EE-44F5-A5F1-1B490CBBF8B3}" presName="tx2" presStyleLbl="revTx" presStyleIdx="2" presStyleCnt="6"/>
      <dgm:spPr/>
    </dgm:pt>
    <dgm:pt modelId="{CA63AF19-3AD7-444C-AD08-DD7652786CA2}" type="pres">
      <dgm:prSet presAssocID="{E3F5DE3A-C5EE-44F5-A5F1-1B490CBBF8B3}" presName="vert2" presStyleCnt="0"/>
      <dgm:spPr/>
    </dgm:pt>
    <dgm:pt modelId="{67F64BCF-6B2D-43B2-AB56-D1312FE70AEA}" type="pres">
      <dgm:prSet presAssocID="{E3F5DE3A-C5EE-44F5-A5F1-1B490CBBF8B3}" presName="thinLine2b" presStyleLbl="callout" presStyleIdx="1" presStyleCnt="5"/>
      <dgm:spPr/>
    </dgm:pt>
    <dgm:pt modelId="{C7745642-5B73-4665-8750-6053D8E30448}" type="pres">
      <dgm:prSet presAssocID="{E3F5DE3A-C5EE-44F5-A5F1-1B490CBBF8B3}" presName="vertSpace2b" presStyleCnt="0"/>
      <dgm:spPr/>
    </dgm:pt>
    <dgm:pt modelId="{726D6BFA-1AD6-4E79-AE22-3F55359C4F83}" type="pres">
      <dgm:prSet presAssocID="{BA61D25F-0618-4EF1-AE87-ED564F80AB57}" presName="horz2" presStyleCnt="0"/>
      <dgm:spPr/>
    </dgm:pt>
    <dgm:pt modelId="{0BD7324D-935D-43F3-A36F-8262EE434BF1}" type="pres">
      <dgm:prSet presAssocID="{BA61D25F-0618-4EF1-AE87-ED564F80AB57}" presName="horzSpace2" presStyleCnt="0"/>
      <dgm:spPr/>
    </dgm:pt>
    <dgm:pt modelId="{565D148A-FA4E-46FA-9BC8-FA289F627242}" type="pres">
      <dgm:prSet presAssocID="{BA61D25F-0618-4EF1-AE87-ED564F80AB57}" presName="tx2" presStyleLbl="revTx" presStyleIdx="3" presStyleCnt="6"/>
      <dgm:spPr/>
    </dgm:pt>
    <dgm:pt modelId="{3F1EE80F-1CDF-40D5-A308-4C533535A15F}" type="pres">
      <dgm:prSet presAssocID="{BA61D25F-0618-4EF1-AE87-ED564F80AB57}" presName="vert2" presStyleCnt="0"/>
      <dgm:spPr/>
    </dgm:pt>
    <dgm:pt modelId="{BCCE7361-BAF1-434C-90F5-79FE61C0BAF9}" type="pres">
      <dgm:prSet presAssocID="{BA61D25F-0618-4EF1-AE87-ED564F80AB57}" presName="thinLine2b" presStyleLbl="callout" presStyleIdx="2" presStyleCnt="5"/>
      <dgm:spPr/>
    </dgm:pt>
    <dgm:pt modelId="{C97F66BA-B3C6-414B-AD25-8AF107C60FCC}" type="pres">
      <dgm:prSet presAssocID="{BA61D25F-0618-4EF1-AE87-ED564F80AB57}" presName="vertSpace2b" presStyleCnt="0"/>
      <dgm:spPr/>
    </dgm:pt>
    <dgm:pt modelId="{DDE1D012-06ED-451E-98ED-457B27202535}" type="pres">
      <dgm:prSet presAssocID="{D2D8DDF2-8EEB-405A-8207-8887C244243C}" presName="horz2" presStyleCnt="0"/>
      <dgm:spPr/>
    </dgm:pt>
    <dgm:pt modelId="{2C983C45-0A83-4F44-9B57-09C8C2AA1193}" type="pres">
      <dgm:prSet presAssocID="{D2D8DDF2-8EEB-405A-8207-8887C244243C}" presName="horzSpace2" presStyleCnt="0"/>
      <dgm:spPr/>
    </dgm:pt>
    <dgm:pt modelId="{FDFEB73C-5B3D-4E57-B077-C3B8BA2F003E}" type="pres">
      <dgm:prSet presAssocID="{D2D8DDF2-8EEB-405A-8207-8887C244243C}" presName="tx2" presStyleLbl="revTx" presStyleIdx="4" presStyleCnt="6"/>
      <dgm:spPr/>
    </dgm:pt>
    <dgm:pt modelId="{D3EF9C74-524E-4B50-96FF-4FDAD6FE5E3C}" type="pres">
      <dgm:prSet presAssocID="{D2D8DDF2-8EEB-405A-8207-8887C244243C}" presName="vert2" presStyleCnt="0"/>
      <dgm:spPr/>
    </dgm:pt>
    <dgm:pt modelId="{AC580ABB-2554-40F1-BCC7-96345D051672}" type="pres">
      <dgm:prSet presAssocID="{D2D8DDF2-8EEB-405A-8207-8887C244243C}" presName="thinLine2b" presStyleLbl="callout" presStyleIdx="3" presStyleCnt="5"/>
      <dgm:spPr/>
    </dgm:pt>
    <dgm:pt modelId="{69B9AEC3-5265-42BF-BA6B-26AAC1D7B6D3}" type="pres">
      <dgm:prSet presAssocID="{D2D8DDF2-8EEB-405A-8207-8887C244243C}" presName="vertSpace2b" presStyleCnt="0"/>
      <dgm:spPr/>
    </dgm:pt>
    <dgm:pt modelId="{EDE27983-BDC2-4D50-8A81-E42B24329D8B}" type="pres">
      <dgm:prSet presAssocID="{FAB40D01-EDD6-46BA-970F-089365516A13}" presName="horz2" presStyleCnt="0"/>
      <dgm:spPr/>
    </dgm:pt>
    <dgm:pt modelId="{58DB71C1-5D66-455F-9944-FE8DE3F4C6CF}" type="pres">
      <dgm:prSet presAssocID="{FAB40D01-EDD6-46BA-970F-089365516A13}" presName="horzSpace2" presStyleCnt="0"/>
      <dgm:spPr/>
    </dgm:pt>
    <dgm:pt modelId="{00CC7A96-85C7-46FF-A46E-DCFAA48EFD61}" type="pres">
      <dgm:prSet presAssocID="{FAB40D01-EDD6-46BA-970F-089365516A13}" presName="tx2" presStyleLbl="revTx" presStyleIdx="5" presStyleCnt="6"/>
      <dgm:spPr/>
    </dgm:pt>
    <dgm:pt modelId="{85C73A4C-083C-42DD-B626-79A66AFE9A59}" type="pres">
      <dgm:prSet presAssocID="{FAB40D01-EDD6-46BA-970F-089365516A13}" presName="vert2" presStyleCnt="0"/>
      <dgm:spPr/>
    </dgm:pt>
    <dgm:pt modelId="{8F4FD88F-A6E2-4FF2-B985-D1D7B35877A8}" type="pres">
      <dgm:prSet presAssocID="{FAB40D01-EDD6-46BA-970F-089365516A13}" presName="thinLine2b" presStyleLbl="callout" presStyleIdx="4" presStyleCnt="5"/>
      <dgm:spPr/>
    </dgm:pt>
    <dgm:pt modelId="{A60484F7-D50E-4A2F-A3EE-25C3EF78534B}" type="pres">
      <dgm:prSet presAssocID="{FAB40D01-EDD6-46BA-970F-089365516A13}" presName="vertSpace2b" presStyleCnt="0"/>
      <dgm:spPr/>
    </dgm:pt>
  </dgm:ptLst>
  <dgm:cxnLst>
    <dgm:cxn modelId="{FFEF8D08-14A4-4506-AF0C-1E9F4368BCE7}" type="presOf" srcId="{FAB40D01-EDD6-46BA-970F-089365516A13}" destId="{00CC7A96-85C7-46FF-A46E-DCFAA48EFD61}" srcOrd="0" destOrd="0" presId="urn:microsoft.com/office/officeart/2008/layout/LinedList"/>
    <dgm:cxn modelId="{925F101D-44C0-41AE-8AC4-C3D32A0E7B3C}" srcId="{434B6C83-FD7D-42FA-B80C-90CC3222DA96}" destId="{5F982E2D-3D1C-4608-B590-DD17B1325796}" srcOrd="0" destOrd="0" parTransId="{D8AC2BB0-CAC8-42B5-9E17-D3559277CB19}" sibTransId="{85106D44-7BA0-4491-87B9-2B9E7BF6BBD3}"/>
    <dgm:cxn modelId="{A8C34F22-5F38-4C1E-86A4-4E288B2671D9}" srcId="{5F982E2D-3D1C-4608-B590-DD17B1325796}" destId="{BA61D25F-0618-4EF1-AE87-ED564F80AB57}" srcOrd="2" destOrd="0" parTransId="{608E29AB-DF81-45FF-9266-7728C15B8C13}" sibTransId="{12DF9CB1-A379-45CE-9D36-0AAFF1953E25}"/>
    <dgm:cxn modelId="{14D16835-DB04-4B4C-B0E8-B19B1E9084B1}" srcId="{5F982E2D-3D1C-4608-B590-DD17B1325796}" destId="{FAB40D01-EDD6-46BA-970F-089365516A13}" srcOrd="4" destOrd="0" parTransId="{2AD682F5-1CEC-48E7-8560-C537439B636A}" sibTransId="{DBD79FA2-109B-46C5-8480-3BA6EB0DE9FE}"/>
    <dgm:cxn modelId="{CBC27B57-D30B-4876-A058-4FE3FA18DDA5}" type="presOf" srcId="{D2D8DDF2-8EEB-405A-8207-8887C244243C}" destId="{FDFEB73C-5B3D-4E57-B077-C3B8BA2F003E}" srcOrd="0" destOrd="0" presId="urn:microsoft.com/office/officeart/2008/layout/LinedList"/>
    <dgm:cxn modelId="{01236F84-6924-4FF8-A4FB-D556C1EE0BED}" type="presOf" srcId="{E3F5DE3A-C5EE-44F5-A5F1-1B490CBBF8B3}" destId="{F55BCBDC-710A-497F-8D7B-C999147E3A7A}" srcOrd="0" destOrd="0" presId="urn:microsoft.com/office/officeart/2008/layout/LinedList"/>
    <dgm:cxn modelId="{1498959A-50EE-4565-A909-7132DFAD948D}" srcId="{5F982E2D-3D1C-4608-B590-DD17B1325796}" destId="{E3F5DE3A-C5EE-44F5-A5F1-1B490CBBF8B3}" srcOrd="1" destOrd="0" parTransId="{022F0975-CBC1-4BB4-98D4-936DE071BB88}" sibTransId="{55C5B64F-B734-4DEC-9E5E-7B5982D34D43}"/>
    <dgm:cxn modelId="{E03CF0A1-08D4-4F88-B5B6-6814C48D241F}" type="presOf" srcId="{434B6C83-FD7D-42FA-B80C-90CC3222DA96}" destId="{1A598CFB-F607-405B-A190-EDEA92695276}" srcOrd="0" destOrd="0" presId="urn:microsoft.com/office/officeart/2008/layout/LinedList"/>
    <dgm:cxn modelId="{4AA424A5-DA62-43BF-A751-371663B566D8}" type="presOf" srcId="{5F982E2D-3D1C-4608-B590-DD17B1325796}" destId="{03466D7F-F857-40CF-9037-5044E5F5CAB2}" srcOrd="0" destOrd="0" presId="urn:microsoft.com/office/officeart/2008/layout/LinedList"/>
    <dgm:cxn modelId="{200FA0BE-BCEE-4563-AA9A-8AB8C4D934F3}" srcId="{5F982E2D-3D1C-4608-B590-DD17B1325796}" destId="{764AED33-0CF4-4717-9F30-5888B2FED80C}" srcOrd="0" destOrd="0" parTransId="{F969EA0D-AD00-4784-9230-93CCE59141AD}" sibTransId="{1C4E2925-CB9E-4C97-B04F-60F26B8ADEB0}"/>
    <dgm:cxn modelId="{C771CAC1-C018-428D-B6CF-A42F6468E8FA}" srcId="{5F982E2D-3D1C-4608-B590-DD17B1325796}" destId="{D2D8DDF2-8EEB-405A-8207-8887C244243C}" srcOrd="3" destOrd="0" parTransId="{5774FABD-CDC8-4C3A-8A31-8772B9971465}" sibTransId="{9772F416-AD1B-4855-9918-F80A0B56B5AC}"/>
    <dgm:cxn modelId="{8369C4D6-0D50-49CC-9B50-4A497D185C97}" type="presOf" srcId="{BA61D25F-0618-4EF1-AE87-ED564F80AB57}" destId="{565D148A-FA4E-46FA-9BC8-FA289F627242}" srcOrd="0" destOrd="0" presId="urn:microsoft.com/office/officeart/2008/layout/LinedList"/>
    <dgm:cxn modelId="{346C5FF7-D73E-496C-9D50-335438909141}" type="presOf" srcId="{764AED33-0CF4-4717-9F30-5888B2FED80C}" destId="{BED67B0F-0932-4CD7-BEF7-96CB730C9BBA}" srcOrd="0" destOrd="0" presId="urn:microsoft.com/office/officeart/2008/layout/LinedList"/>
    <dgm:cxn modelId="{26B1AE6C-9500-45FC-98E0-104CFB6889D4}" type="presParOf" srcId="{1A598CFB-F607-405B-A190-EDEA92695276}" destId="{BF69B51B-3B8F-4A1B-AE60-6ECEE7A127BC}" srcOrd="0" destOrd="0" presId="urn:microsoft.com/office/officeart/2008/layout/LinedList"/>
    <dgm:cxn modelId="{71DEA059-F3A9-4428-92F6-91D5227E9116}" type="presParOf" srcId="{1A598CFB-F607-405B-A190-EDEA92695276}" destId="{54474EFC-DFA9-4586-907C-B4A227449E06}" srcOrd="1" destOrd="0" presId="urn:microsoft.com/office/officeart/2008/layout/LinedList"/>
    <dgm:cxn modelId="{F33356E5-C528-4129-BEF0-E467D7DE5406}" type="presParOf" srcId="{54474EFC-DFA9-4586-907C-B4A227449E06}" destId="{03466D7F-F857-40CF-9037-5044E5F5CAB2}" srcOrd="0" destOrd="0" presId="urn:microsoft.com/office/officeart/2008/layout/LinedList"/>
    <dgm:cxn modelId="{5234A8FF-3736-424C-8A27-040B8709DF4E}" type="presParOf" srcId="{54474EFC-DFA9-4586-907C-B4A227449E06}" destId="{A975AE7F-D484-4266-BF86-24B92D8CE5C2}" srcOrd="1" destOrd="0" presId="urn:microsoft.com/office/officeart/2008/layout/LinedList"/>
    <dgm:cxn modelId="{8E0D6B7B-393F-4E9E-80B9-64B79650A04B}" type="presParOf" srcId="{A975AE7F-D484-4266-BF86-24B92D8CE5C2}" destId="{1DBADAF0-DB19-407F-B2D5-D3EC4B771066}" srcOrd="0" destOrd="0" presId="urn:microsoft.com/office/officeart/2008/layout/LinedList"/>
    <dgm:cxn modelId="{BF689125-8917-471F-9081-5D4479E294D1}" type="presParOf" srcId="{A975AE7F-D484-4266-BF86-24B92D8CE5C2}" destId="{EBA2548F-903C-4015-8349-1EAB06BE325F}" srcOrd="1" destOrd="0" presId="urn:microsoft.com/office/officeart/2008/layout/LinedList"/>
    <dgm:cxn modelId="{CC031F28-CFDE-4CC7-B2F8-5E1C07FF6209}" type="presParOf" srcId="{EBA2548F-903C-4015-8349-1EAB06BE325F}" destId="{306963D8-91D6-4B90-8097-0B5EC16BEFF8}" srcOrd="0" destOrd="0" presId="urn:microsoft.com/office/officeart/2008/layout/LinedList"/>
    <dgm:cxn modelId="{F84CAE5B-8B2F-46DE-A7C0-5F92AC85484B}" type="presParOf" srcId="{EBA2548F-903C-4015-8349-1EAB06BE325F}" destId="{BED67B0F-0932-4CD7-BEF7-96CB730C9BBA}" srcOrd="1" destOrd="0" presId="urn:microsoft.com/office/officeart/2008/layout/LinedList"/>
    <dgm:cxn modelId="{467D9647-7F64-4D07-9707-A655A85A7827}" type="presParOf" srcId="{EBA2548F-903C-4015-8349-1EAB06BE325F}" destId="{93CBAD0C-561E-4283-809E-6966CF2A8D6A}" srcOrd="2" destOrd="0" presId="urn:microsoft.com/office/officeart/2008/layout/LinedList"/>
    <dgm:cxn modelId="{5793EDED-5EE8-4077-8603-364DD43C5846}" type="presParOf" srcId="{A975AE7F-D484-4266-BF86-24B92D8CE5C2}" destId="{C81C7ED6-39D1-4904-976C-998508D1B108}" srcOrd="2" destOrd="0" presId="urn:microsoft.com/office/officeart/2008/layout/LinedList"/>
    <dgm:cxn modelId="{F35C6BE3-EF45-4A68-BCC7-4BE258E6D18D}" type="presParOf" srcId="{A975AE7F-D484-4266-BF86-24B92D8CE5C2}" destId="{B229E7A1-12CA-4373-B4D0-D17087B8D1C3}" srcOrd="3" destOrd="0" presId="urn:microsoft.com/office/officeart/2008/layout/LinedList"/>
    <dgm:cxn modelId="{3A10F493-F2B8-4C43-8A7B-71206791A905}" type="presParOf" srcId="{A975AE7F-D484-4266-BF86-24B92D8CE5C2}" destId="{0FDB58A5-E491-4DF6-998E-99AA4DF7DB5B}" srcOrd="4" destOrd="0" presId="urn:microsoft.com/office/officeart/2008/layout/LinedList"/>
    <dgm:cxn modelId="{68477F20-28E5-4ADF-861E-9C82632F8F73}" type="presParOf" srcId="{0FDB58A5-E491-4DF6-998E-99AA4DF7DB5B}" destId="{11E89507-6224-4E77-965C-C73394CEBDEA}" srcOrd="0" destOrd="0" presId="urn:microsoft.com/office/officeart/2008/layout/LinedList"/>
    <dgm:cxn modelId="{994903EE-D172-40F2-A621-CE71A35D8143}" type="presParOf" srcId="{0FDB58A5-E491-4DF6-998E-99AA4DF7DB5B}" destId="{F55BCBDC-710A-497F-8D7B-C999147E3A7A}" srcOrd="1" destOrd="0" presId="urn:microsoft.com/office/officeart/2008/layout/LinedList"/>
    <dgm:cxn modelId="{9D9C90D1-F6B0-4FF5-BADD-80E498145B8C}" type="presParOf" srcId="{0FDB58A5-E491-4DF6-998E-99AA4DF7DB5B}" destId="{CA63AF19-3AD7-444C-AD08-DD7652786CA2}" srcOrd="2" destOrd="0" presId="urn:microsoft.com/office/officeart/2008/layout/LinedList"/>
    <dgm:cxn modelId="{0BC3345B-756F-43EB-A6A1-46B3A784E443}" type="presParOf" srcId="{A975AE7F-D484-4266-BF86-24B92D8CE5C2}" destId="{67F64BCF-6B2D-43B2-AB56-D1312FE70AEA}" srcOrd="5" destOrd="0" presId="urn:microsoft.com/office/officeart/2008/layout/LinedList"/>
    <dgm:cxn modelId="{34E1D467-48C3-4A2A-9BF9-DD2AB4C68418}" type="presParOf" srcId="{A975AE7F-D484-4266-BF86-24B92D8CE5C2}" destId="{C7745642-5B73-4665-8750-6053D8E30448}" srcOrd="6" destOrd="0" presId="urn:microsoft.com/office/officeart/2008/layout/LinedList"/>
    <dgm:cxn modelId="{8177461A-B34F-475C-8211-A0F3A5F7D5A8}" type="presParOf" srcId="{A975AE7F-D484-4266-BF86-24B92D8CE5C2}" destId="{726D6BFA-1AD6-4E79-AE22-3F55359C4F83}" srcOrd="7" destOrd="0" presId="urn:microsoft.com/office/officeart/2008/layout/LinedList"/>
    <dgm:cxn modelId="{9E4BC4D1-4EE6-43AF-9089-5D5BC45B8C45}" type="presParOf" srcId="{726D6BFA-1AD6-4E79-AE22-3F55359C4F83}" destId="{0BD7324D-935D-43F3-A36F-8262EE434BF1}" srcOrd="0" destOrd="0" presId="urn:microsoft.com/office/officeart/2008/layout/LinedList"/>
    <dgm:cxn modelId="{ACDB768E-F037-4078-9FF5-9C49E0E94B34}" type="presParOf" srcId="{726D6BFA-1AD6-4E79-AE22-3F55359C4F83}" destId="{565D148A-FA4E-46FA-9BC8-FA289F627242}" srcOrd="1" destOrd="0" presId="urn:microsoft.com/office/officeart/2008/layout/LinedList"/>
    <dgm:cxn modelId="{F5BF1EAB-3343-4892-9A1F-254366C23C59}" type="presParOf" srcId="{726D6BFA-1AD6-4E79-AE22-3F55359C4F83}" destId="{3F1EE80F-1CDF-40D5-A308-4C533535A15F}" srcOrd="2" destOrd="0" presId="urn:microsoft.com/office/officeart/2008/layout/LinedList"/>
    <dgm:cxn modelId="{40048E06-910D-4115-8337-9221A0E3B96E}" type="presParOf" srcId="{A975AE7F-D484-4266-BF86-24B92D8CE5C2}" destId="{BCCE7361-BAF1-434C-90F5-79FE61C0BAF9}" srcOrd="8" destOrd="0" presId="urn:microsoft.com/office/officeart/2008/layout/LinedList"/>
    <dgm:cxn modelId="{2D65A485-CB3F-40CF-BF52-EC8B69D8C477}" type="presParOf" srcId="{A975AE7F-D484-4266-BF86-24B92D8CE5C2}" destId="{C97F66BA-B3C6-414B-AD25-8AF107C60FCC}" srcOrd="9" destOrd="0" presId="urn:microsoft.com/office/officeart/2008/layout/LinedList"/>
    <dgm:cxn modelId="{72C0FED8-B397-4BD0-AD9D-9C02F0D24F82}" type="presParOf" srcId="{A975AE7F-D484-4266-BF86-24B92D8CE5C2}" destId="{DDE1D012-06ED-451E-98ED-457B27202535}" srcOrd="10" destOrd="0" presId="urn:microsoft.com/office/officeart/2008/layout/LinedList"/>
    <dgm:cxn modelId="{164EE1E7-2B80-47E6-BD0A-370E06F78841}" type="presParOf" srcId="{DDE1D012-06ED-451E-98ED-457B27202535}" destId="{2C983C45-0A83-4F44-9B57-09C8C2AA1193}" srcOrd="0" destOrd="0" presId="urn:microsoft.com/office/officeart/2008/layout/LinedList"/>
    <dgm:cxn modelId="{25388C80-482E-45DE-B8D2-19541B8866CA}" type="presParOf" srcId="{DDE1D012-06ED-451E-98ED-457B27202535}" destId="{FDFEB73C-5B3D-4E57-B077-C3B8BA2F003E}" srcOrd="1" destOrd="0" presId="urn:microsoft.com/office/officeart/2008/layout/LinedList"/>
    <dgm:cxn modelId="{0138DEA8-8D71-49A2-8ABC-F20DE165C893}" type="presParOf" srcId="{DDE1D012-06ED-451E-98ED-457B27202535}" destId="{D3EF9C74-524E-4B50-96FF-4FDAD6FE5E3C}" srcOrd="2" destOrd="0" presId="urn:microsoft.com/office/officeart/2008/layout/LinedList"/>
    <dgm:cxn modelId="{CD658B7D-439B-48B7-B039-17ABC866767D}" type="presParOf" srcId="{A975AE7F-D484-4266-BF86-24B92D8CE5C2}" destId="{AC580ABB-2554-40F1-BCC7-96345D051672}" srcOrd="11" destOrd="0" presId="urn:microsoft.com/office/officeart/2008/layout/LinedList"/>
    <dgm:cxn modelId="{39047968-3842-4185-BF3F-9ADB3F625738}" type="presParOf" srcId="{A975AE7F-D484-4266-BF86-24B92D8CE5C2}" destId="{69B9AEC3-5265-42BF-BA6B-26AAC1D7B6D3}" srcOrd="12" destOrd="0" presId="urn:microsoft.com/office/officeart/2008/layout/LinedList"/>
    <dgm:cxn modelId="{8BCD2C06-8DC9-44CE-A3B4-9A6A05E82094}" type="presParOf" srcId="{A975AE7F-D484-4266-BF86-24B92D8CE5C2}" destId="{EDE27983-BDC2-4D50-8A81-E42B24329D8B}" srcOrd="13" destOrd="0" presId="urn:microsoft.com/office/officeart/2008/layout/LinedList"/>
    <dgm:cxn modelId="{7A9FA488-3BB4-43AD-B78E-D42C62C60669}" type="presParOf" srcId="{EDE27983-BDC2-4D50-8A81-E42B24329D8B}" destId="{58DB71C1-5D66-455F-9944-FE8DE3F4C6CF}" srcOrd="0" destOrd="0" presId="urn:microsoft.com/office/officeart/2008/layout/LinedList"/>
    <dgm:cxn modelId="{9A4922A4-9E0A-4C91-BEF7-87D90D2B94AB}" type="presParOf" srcId="{EDE27983-BDC2-4D50-8A81-E42B24329D8B}" destId="{00CC7A96-85C7-46FF-A46E-DCFAA48EFD61}" srcOrd="1" destOrd="0" presId="urn:microsoft.com/office/officeart/2008/layout/LinedList"/>
    <dgm:cxn modelId="{D22C2E0E-E62A-419F-8BA0-F8B6C02458C1}" type="presParOf" srcId="{EDE27983-BDC2-4D50-8A81-E42B24329D8B}" destId="{85C73A4C-083C-42DD-B626-79A66AFE9A59}" srcOrd="2" destOrd="0" presId="urn:microsoft.com/office/officeart/2008/layout/LinedList"/>
    <dgm:cxn modelId="{470F53B4-6BAB-4460-AD6F-1BDE88BF0153}" type="presParOf" srcId="{A975AE7F-D484-4266-BF86-24B92D8CE5C2}" destId="{8F4FD88F-A6E2-4FF2-B985-D1D7B35877A8}" srcOrd="14" destOrd="0" presId="urn:microsoft.com/office/officeart/2008/layout/LinedList"/>
    <dgm:cxn modelId="{E4843FDC-19C5-4613-BABF-16476929497F}" type="presParOf" srcId="{A975AE7F-D484-4266-BF86-24B92D8CE5C2}" destId="{A60484F7-D50E-4A2F-A3EE-25C3EF78534B}" srcOrd="15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A408E4-E400-45E5-9438-F47DE769999A}">
      <dsp:nvSpPr>
        <dsp:cNvPr id="0" name=""/>
        <dsp:cNvSpPr/>
      </dsp:nvSpPr>
      <dsp:spPr>
        <a:xfrm>
          <a:off x="0" y="2623"/>
          <a:ext cx="818853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E3A7EDD-79ED-4250-A258-A67A9BEE2495}">
      <dsp:nvSpPr>
        <dsp:cNvPr id="0" name=""/>
        <dsp:cNvSpPr/>
      </dsp:nvSpPr>
      <dsp:spPr>
        <a:xfrm>
          <a:off x="0" y="2623"/>
          <a:ext cx="8180533" cy="13157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1800" kern="1200" dirty="0"/>
        </a:p>
        <a:p>
          <a:pPr marL="0" lvl="0" indent="0" algn="ctr" defTabSz="800100">
            <a:lnSpc>
              <a:spcPct val="90000"/>
            </a:lnSpc>
            <a:spcBef>
              <a:spcPts val="600"/>
            </a:spcBef>
            <a:spcAft>
              <a:spcPts val="0"/>
            </a:spcAft>
            <a:buNone/>
          </a:pPr>
          <a:r>
            <a:rPr lang="el-GR" sz="1600" kern="12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Το έργο αποτελεί τμήμα του συνολικού σχεδιασμού του Υπουργείου Υγείας για την αναβάθμιση της ποιότητας των παρεχόμενων υπηρεσιών υγείας από τα νοσοκομεία του Ε.Σ.Υ.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0" y="2623"/>
        <a:ext cx="8180533" cy="1315741"/>
      </dsp:txXfrm>
    </dsp:sp>
    <dsp:sp modelId="{0AB8F8FE-5BB5-4921-B518-60AE0EA84C53}">
      <dsp:nvSpPr>
        <dsp:cNvPr id="0" name=""/>
        <dsp:cNvSpPr/>
      </dsp:nvSpPr>
      <dsp:spPr>
        <a:xfrm>
          <a:off x="0" y="1318364"/>
          <a:ext cx="818853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009B328-FA9D-4251-A559-F56227E3C5FA}">
      <dsp:nvSpPr>
        <dsp:cNvPr id="0" name=""/>
        <dsp:cNvSpPr/>
      </dsp:nvSpPr>
      <dsp:spPr>
        <a:xfrm>
          <a:off x="0" y="1318364"/>
          <a:ext cx="8180533" cy="12991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ctr" defTabSz="711200">
            <a:lnSpc>
              <a:spcPct val="90000"/>
            </a:lnSpc>
            <a:spcBef>
              <a:spcPts val="600"/>
            </a:spcBef>
            <a:spcAft>
              <a:spcPts val="0"/>
            </a:spcAft>
            <a:buNone/>
          </a:pPr>
          <a:r>
            <a:rPr lang="el-GR" sz="1600" kern="12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Αφορά στη </a:t>
          </a:r>
          <a:r>
            <a:rPr lang="el-GR" sz="1600" u="sng" kern="12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δημιουργία εφαρμογής </a:t>
          </a:r>
          <a:r>
            <a:rPr lang="el-GR" sz="1600" kern="12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για τη μέτρηση της ικανοποίησης όσων ασθενών έχουν νοσηλευθεί και έχουν λάβει εξιτήριο</a:t>
          </a:r>
          <a:r>
            <a:rPr lang="en-US" sz="1600" kern="12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l-GR" sz="1600" kern="12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από κάποιο νοσοκομείο της χώρας.</a:t>
          </a:r>
          <a:endParaRPr lang="el-GR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0" y="1318364"/>
        <a:ext cx="8180533" cy="1299195"/>
      </dsp:txXfrm>
    </dsp:sp>
    <dsp:sp modelId="{D2E78E90-4C19-4BFD-8D67-4B67ECBA13D5}">
      <dsp:nvSpPr>
        <dsp:cNvPr id="0" name=""/>
        <dsp:cNvSpPr/>
      </dsp:nvSpPr>
      <dsp:spPr>
        <a:xfrm>
          <a:off x="0" y="2617560"/>
          <a:ext cx="818853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DF454BB6-CC2B-42C0-B77D-77D4E1769066}">
      <dsp:nvSpPr>
        <dsp:cNvPr id="0" name=""/>
        <dsp:cNvSpPr/>
      </dsp:nvSpPr>
      <dsp:spPr>
        <a:xfrm>
          <a:off x="0" y="2617560"/>
          <a:ext cx="8180533" cy="10593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ctr" defTabSz="711200">
            <a:lnSpc>
              <a:spcPct val="90000"/>
            </a:lnSpc>
            <a:spcBef>
              <a:spcPts val="600"/>
            </a:spcBef>
            <a:spcAft>
              <a:spcPts val="0"/>
            </a:spcAft>
            <a:buNone/>
          </a:pPr>
          <a:r>
            <a:rPr lang="el-GR" sz="1600" kern="1200" dirty="0">
              <a:solidFill>
                <a:schemeClr val="bg2">
                  <a:lumMod val="60000"/>
                  <a:lumOff val="4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Χρηματοδότηση</a:t>
          </a:r>
          <a:r>
            <a:rPr lang="en-US" sz="1600" kern="1200" dirty="0">
              <a:solidFill>
                <a:schemeClr val="bg2">
                  <a:lumMod val="60000"/>
                  <a:lumOff val="4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: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l-GR" sz="1600" kern="12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Ταμείο Ανάκαμψης και Ανθεκτικότητας (Τ.Α.Α.)</a:t>
          </a:r>
          <a:endParaRPr lang="en-US" sz="1600" kern="1200" dirty="0">
            <a:solidFill>
              <a:schemeClr val="accent1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0" y="2617560"/>
        <a:ext cx="8180533" cy="1059388"/>
      </dsp:txXfrm>
    </dsp:sp>
    <dsp:sp modelId="{5FC83DB6-B629-4C58-A4E3-F01EA9EA45F1}">
      <dsp:nvSpPr>
        <dsp:cNvPr id="0" name=""/>
        <dsp:cNvSpPr/>
      </dsp:nvSpPr>
      <dsp:spPr>
        <a:xfrm>
          <a:off x="0" y="3685101"/>
          <a:ext cx="818853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4ABAAFF-0074-4F08-BF82-993C08E4B3F2}">
      <dsp:nvSpPr>
        <dsp:cNvPr id="0" name=""/>
        <dsp:cNvSpPr/>
      </dsp:nvSpPr>
      <dsp:spPr>
        <a:xfrm>
          <a:off x="0" y="3676948"/>
          <a:ext cx="8188530" cy="857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0" y="3676948"/>
        <a:ext cx="8188530" cy="857311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087FDB-7FFC-4DBE-8299-134911E3E555}">
      <dsp:nvSpPr>
        <dsp:cNvPr id="0" name=""/>
        <dsp:cNvSpPr/>
      </dsp:nvSpPr>
      <dsp:spPr>
        <a:xfrm>
          <a:off x="0" y="369951"/>
          <a:ext cx="2941864" cy="176511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800" kern="1200" dirty="0">
              <a:latin typeface="Calibri" panose="020F0502020204030204" pitchFamily="34" charset="0"/>
              <a:cs typeface="Calibri" panose="020F0502020204030204" pitchFamily="34" charset="0"/>
            </a:rPr>
            <a:t>Έγκαιρος εντοπισμός προβλημάτων &amp; χάραξη τεκμηριωμένων πολιτικών</a:t>
          </a:r>
        </a:p>
      </dsp:txBody>
      <dsp:txXfrm>
        <a:off x="0" y="369951"/>
        <a:ext cx="2941864" cy="1765118"/>
      </dsp:txXfrm>
    </dsp:sp>
    <dsp:sp modelId="{78FAA294-35ED-4733-9143-2F537425C504}">
      <dsp:nvSpPr>
        <dsp:cNvPr id="0" name=""/>
        <dsp:cNvSpPr/>
      </dsp:nvSpPr>
      <dsp:spPr>
        <a:xfrm>
          <a:off x="3236050" y="369951"/>
          <a:ext cx="2941864" cy="176511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800" kern="1200" dirty="0">
              <a:latin typeface="Calibri" panose="020F0502020204030204" pitchFamily="34" charset="0"/>
              <a:cs typeface="Calibri" panose="020F0502020204030204" pitchFamily="34" charset="0"/>
            </a:rPr>
            <a:t>Βελτίωση της  αποτελεσματικότητας &amp; της αποδοτικότητας των νοσοκομείων </a:t>
          </a:r>
        </a:p>
      </dsp:txBody>
      <dsp:txXfrm>
        <a:off x="3236050" y="369951"/>
        <a:ext cx="2941864" cy="1765118"/>
      </dsp:txXfrm>
    </dsp:sp>
    <dsp:sp modelId="{FB2D3D5B-59B9-435B-B2E0-3283A171F684}">
      <dsp:nvSpPr>
        <dsp:cNvPr id="0" name=""/>
        <dsp:cNvSpPr/>
      </dsp:nvSpPr>
      <dsp:spPr>
        <a:xfrm>
          <a:off x="6472101" y="369951"/>
          <a:ext cx="2941864" cy="176511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800" kern="1200" dirty="0">
              <a:latin typeface="Calibri" panose="020F0502020204030204" pitchFamily="34" charset="0"/>
              <a:cs typeface="Calibri" panose="020F0502020204030204" pitchFamily="34" charset="0"/>
            </a:rPr>
            <a:t>Βελτίωση της ποιότητας των παρεχόμενων υπηρεσιών </a:t>
          </a:r>
        </a:p>
      </dsp:txBody>
      <dsp:txXfrm>
        <a:off x="6472101" y="369951"/>
        <a:ext cx="2941864" cy="1765118"/>
      </dsp:txXfrm>
    </dsp:sp>
    <dsp:sp modelId="{715A3F11-8641-486C-844B-5C34F1D5BE72}">
      <dsp:nvSpPr>
        <dsp:cNvPr id="0" name=""/>
        <dsp:cNvSpPr/>
      </dsp:nvSpPr>
      <dsp:spPr>
        <a:xfrm>
          <a:off x="30124" y="2438700"/>
          <a:ext cx="2941864" cy="176511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800" kern="1200" dirty="0">
              <a:latin typeface="Calibri" panose="020F0502020204030204" pitchFamily="34" charset="0"/>
              <a:cs typeface="Calibri" panose="020F0502020204030204" pitchFamily="34" charset="0"/>
            </a:rPr>
            <a:t>Μείωση των ανεκπλήρωτων αναγκών του πληθυσμού</a:t>
          </a:r>
        </a:p>
      </dsp:txBody>
      <dsp:txXfrm>
        <a:off x="30124" y="2438700"/>
        <a:ext cx="2941864" cy="1765118"/>
      </dsp:txXfrm>
    </dsp:sp>
    <dsp:sp modelId="{9FD257DA-C086-4ADF-BC9E-5CC9D3E16A02}">
      <dsp:nvSpPr>
        <dsp:cNvPr id="0" name=""/>
        <dsp:cNvSpPr/>
      </dsp:nvSpPr>
      <dsp:spPr>
        <a:xfrm>
          <a:off x="3236050" y="2429256"/>
          <a:ext cx="2941864" cy="176511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800" kern="1200" dirty="0">
              <a:latin typeface="Calibri" panose="020F0502020204030204" pitchFamily="34" charset="0"/>
              <a:cs typeface="Calibri" panose="020F0502020204030204" pitchFamily="34" charset="0"/>
            </a:rPr>
            <a:t>Ενίσχυση της ανθρωποκεντρικής διάστασης του Ε.Σ.Υ. </a:t>
          </a:r>
        </a:p>
      </dsp:txBody>
      <dsp:txXfrm>
        <a:off x="3236050" y="2429256"/>
        <a:ext cx="2941864" cy="1765118"/>
      </dsp:txXfrm>
    </dsp:sp>
    <dsp:sp modelId="{4B9646DB-F704-4168-9501-BBDF96E226C9}">
      <dsp:nvSpPr>
        <dsp:cNvPr id="0" name=""/>
        <dsp:cNvSpPr/>
      </dsp:nvSpPr>
      <dsp:spPr>
        <a:xfrm>
          <a:off x="6472101" y="2429256"/>
          <a:ext cx="2941864" cy="176511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800" kern="1200" dirty="0">
              <a:latin typeface="Calibri" panose="020F0502020204030204" pitchFamily="34" charset="0"/>
              <a:cs typeface="Calibri" panose="020F0502020204030204" pitchFamily="34" charset="0"/>
            </a:rPr>
            <a:t>Πραγματοποίηση συγκρίσεων &amp; εντοπισμός καλών πρακτικών</a:t>
          </a:r>
        </a:p>
      </dsp:txBody>
      <dsp:txXfrm>
        <a:off x="6472101" y="2429256"/>
        <a:ext cx="2941864" cy="17651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859323-EB12-42CC-870D-EEB3CF20FFE2}">
      <dsp:nvSpPr>
        <dsp:cNvPr id="0" name=""/>
        <dsp:cNvSpPr/>
      </dsp:nvSpPr>
      <dsp:spPr>
        <a:xfrm>
          <a:off x="1158506" y="616210"/>
          <a:ext cx="920240" cy="71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47F7F5-FFC0-4B91-AE31-01082BA0E1AB}">
      <dsp:nvSpPr>
        <dsp:cNvPr id="0" name=""/>
        <dsp:cNvSpPr/>
      </dsp:nvSpPr>
      <dsp:spPr>
        <a:xfrm>
          <a:off x="2133961" y="538870"/>
          <a:ext cx="105827" cy="198895"/>
        </a:xfrm>
        <a:prstGeom prst="chevron">
          <a:avLst>
            <a:gd name="adj" fmla="val 9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15AF3E-C8A1-4989-A75E-561777299E16}">
      <dsp:nvSpPr>
        <dsp:cNvPr id="0" name=""/>
        <dsp:cNvSpPr/>
      </dsp:nvSpPr>
      <dsp:spPr>
        <a:xfrm>
          <a:off x="573562" y="146332"/>
          <a:ext cx="939826" cy="939826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470" tIns="36470" rIns="36470" bIns="3647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kern="1200"/>
            <a:t>1</a:t>
          </a:r>
        </a:p>
      </dsp:txBody>
      <dsp:txXfrm>
        <a:off x="711196" y="283966"/>
        <a:ext cx="664558" cy="664558"/>
      </dsp:txXfrm>
    </dsp:sp>
    <dsp:sp modelId="{E913DF78-EC95-4A99-8A5F-3E4108010C5D}">
      <dsp:nvSpPr>
        <dsp:cNvPr id="0" name=""/>
        <dsp:cNvSpPr/>
      </dsp:nvSpPr>
      <dsp:spPr>
        <a:xfrm>
          <a:off x="8205" y="1251700"/>
          <a:ext cx="2070541" cy="1965600"/>
        </a:xfrm>
        <a:prstGeom prst="upArrowCallout">
          <a:avLst>
            <a:gd name="adj1" fmla="val 50000"/>
            <a:gd name="adj2" fmla="val 20000"/>
            <a:gd name="adj3" fmla="val 20000"/>
            <a:gd name="adj4" fmla="val 10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327" tIns="165100" rIns="163327" bIns="165100" numCol="1" spcCol="1270" anchor="t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500" b="1" kern="12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Μεμονωμένες, εσωτερικές έρευνες ικανοποίησης των ασθενών στα νοσοκομεία</a:t>
          </a:r>
          <a:endParaRPr lang="en-US" sz="1500" b="1" kern="1200" dirty="0">
            <a:solidFill>
              <a:schemeClr val="accent1">
                <a:lumMod val="50000"/>
              </a:schemeClr>
            </a:solidFill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sp:txBody>
      <dsp:txXfrm>
        <a:off x="8205" y="1644820"/>
        <a:ext cx="2070541" cy="1572480"/>
      </dsp:txXfrm>
    </dsp:sp>
    <dsp:sp modelId="{EABF6629-97FC-4A31-B27F-7B39CBC82C0F}">
      <dsp:nvSpPr>
        <dsp:cNvPr id="0" name=""/>
        <dsp:cNvSpPr/>
      </dsp:nvSpPr>
      <dsp:spPr>
        <a:xfrm>
          <a:off x="2308806" y="616376"/>
          <a:ext cx="2070541" cy="7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8DE9517-7763-4E7C-B75D-4B69D58E08AD}">
      <dsp:nvSpPr>
        <dsp:cNvPr id="0" name=""/>
        <dsp:cNvSpPr/>
      </dsp:nvSpPr>
      <dsp:spPr>
        <a:xfrm>
          <a:off x="4434562" y="539009"/>
          <a:ext cx="105827" cy="199036"/>
        </a:xfrm>
        <a:prstGeom prst="chevron">
          <a:avLst>
            <a:gd name="adj" fmla="val 9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DBF530-3A8A-4DA1-B8D2-750CA490AE9A}">
      <dsp:nvSpPr>
        <dsp:cNvPr id="0" name=""/>
        <dsp:cNvSpPr/>
      </dsp:nvSpPr>
      <dsp:spPr>
        <a:xfrm>
          <a:off x="2874164" y="146499"/>
          <a:ext cx="939826" cy="939826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470" tIns="36470" rIns="36470" bIns="3647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kern="1200"/>
            <a:t>2</a:t>
          </a:r>
        </a:p>
      </dsp:txBody>
      <dsp:txXfrm>
        <a:off x="3011798" y="284133"/>
        <a:ext cx="664558" cy="664558"/>
      </dsp:txXfrm>
    </dsp:sp>
    <dsp:sp modelId="{DF430E97-4D1B-4549-981F-4F94CE07EFDD}">
      <dsp:nvSpPr>
        <dsp:cNvPr id="0" name=""/>
        <dsp:cNvSpPr/>
      </dsp:nvSpPr>
      <dsp:spPr>
        <a:xfrm>
          <a:off x="2308806" y="1252092"/>
          <a:ext cx="2070541" cy="1965600"/>
        </a:xfrm>
        <a:prstGeom prst="upArrowCallout">
          <a:avLst>
            <a:gd name="adj1" fmla="val 50000"/>
            <a:gd name="adj2" fmla="val 20000"/>
            <a:gd name="adj3" fmla="val 20000"/>
            <a:gd name="adj4" fmla="val 10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327" tIns="165100" rIns="163327" bIns="165100" numCol="1" spcCol="1270" anchor="t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500" b="1" kern="12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Απουσία κοινής μεθοδολογίας αξιολόγησης στο σύνολο των νοσοκομείων </a:t>
          </a:r>
          <a:endParaRPr lang="el-GR" sz="1500" b="1" kern="1200" dirty="0">
            <a:solidFill>
              <a:schemeClr val="accent1">
                <a:lumMod val="50000"/>
              </a:schemeClr>
            </a:solidFill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 dirty="0">
            <a:solidFill>
              <a:schemeClr val="accent1">
                <a:lumMod val="50000"/>
              </a:schemeClr>
            </a:solidFill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sp:txBody>
      <dsp:txXfrm>
        <a:off x="2308806" y="1645212"/>
        <a:ext cx="2070541" cy="1572480"/>
      </dsp:txXfrm>
    </dsp:sp>
    <dsp:sp modelId="{D625E94D-A31E-46E8-8F5E-9639F5271A06}">
      <dsp:nvSpPr>
        <dsp:cNvPr id="0" name=""/>
        <dsp:cNvSpPr/>
      </dsp:nvSpPr>
      <dsp:spPr>
        <a:xfrm>
          <a:off x="4609408" y="616376"/>
          <a:ext cx="2070541" cy="7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887395-C852-4D93-8908-B3F8F623B1A7}">
      <dsp:nvSpPr>
        <dsp:cNvPr id="0" name=""/>
        <dsp:cNvSpPr/>
      </dsp:nvSpPr>
      <dsp:spPr>
        <a:xfrm>
          <a:off x="6735163" y="539009"/>
          <a:ext cx="105827" cy="199036"/>
        </a:xfrm>
        <a:prstGeom prst="chevron">
          <a:avLst>
            <a:gd name="adj" fmla="val 9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99E24B-8DE5-4429-A7F3-5D2B363B935C}">
      <dsp:nvSpPr>
        <dsp:cNvPr id="0" name=""/>
        <dsp:cNvSpPr/>
      </dsp:nvSpPr>
      <dsp:spPr>
        <a:xfrm>
          <a:off x="5174765" y="146499"/>
          <a:ext cx="939826" cy="939826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470" tIns="36470" rIns="36470" bIns="3647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kern="1200"/>
            <a:t>3</a:t>
          </a:r>
        </a:p>
      </dsp:txBody>
      <dsp:txXfrm>
        <a:off x="5312399" y="284133"/>
        <a:ext cx="664558" cy="664558"/>
      </dsp:txXfrm>
    </dsp:sp>
    <dsp:sp modelId="{4B1E824A-C818-421A-B56A-0FA2C9353217}">
      <dsp:nvSpPr>
        <dsp:cNvPr id="0" name=""/>
        <dsp:cNvSpPr/>
      </dsp:nvSpPr>
      <dsp:spPr>
        <a:xfrm>
          <a:off x="4609408" y="1252092"/>
          <a:ext cx="2070541" cy="1965600"/>
        </a:xfrm>
        <a:prstGeom prst="upArrowCallout">
          <a:avLst>
            <a:gd name="adj1" fmla="val 50000"/>
            <a:gd name="adj2" fmla="val 20000"/>
            <a:gd name="adj3" fmla="val 20000"/>
            <a:gd name="adj4" fmla="val 10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327" tIns="165100" rIns="163327" bIns="165100" numCol="1" spcCol="1270" anchor="t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500" b="1" kern="12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Ελλιπής ενημέρωση του ασθενή για τη δυνατότητα συμπλήρωσης ερωτηματολογίων</a:t>
          </a:r>
          <a:endParaRPr lang="el-GR" sz="1500" b="1" kern="1200" dirty="0">
            <a:solidFill>
              <a:schemeClr val="accent1">
                <a:lumMod val="50000"/>
              </a:schemeClr>
            </a:solidFill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 dirty="0">
            <a:solidFill>
              <a:schemeClr val="accent1">
                <a:lumMod val="50000"/>
              </a:schemeClr>
            </a:solidFill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sp:txBody>
      <dsp:txXfrm>
        <a:off x="4609408" y="1645212"/>
        <a:ext cx="2070541" cy="1572480"/>
      </dsp:txXfrm>
    </dsp:sp>
    <dsp:sp modelId="{DF39DCCA-A556-44C3-8188-92EB9A7F9001}">
      <dsp:nvSpPr>
        <dsp:cNvPr id="0" name=""/>
        <dsp:cNvSpPr/>
      </dsp:nvSpPr>
      <dsp:spPr>
        <a:xfrm>
          <a:off x="6910009" y="616376"/>
          <a:ext cx="2070541" cy="7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448F9A5-E542-4A53-BE96-9AE6B3A7F351}">
      <dsp:nvSpPr>
        <dsp:cNvPr id="0" name=""/>
        <dsp:cNvSpPr/>
      </dsp:nvSpPr>
      <dsp:spPr>
        <a:xfrm>
          <a:off x="9035765" y="539009"/>
          <a:ext cx="105827" cy="199036"/>
        </a:xfrm>
        <a:prstGeom prst="chevron">
          <a:avLst>
            <a:gd name="adj" fmla="val 9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2048B18-659D-43F2-B40E-B459A72B54B4}">
      <dsp:nvSpPr>
        <dsp:cNvPr id="0" name=""/>
        <dsp:cNvSpPr/>
      </dsp:nvSpPr>
      <dsp:spPr>
        <a:xfrm>
          <a:off x="7475366" y="146499"/>
          <a:ext cx="939826" cy="939826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470" tIns="36470" rIns="36470" bIns="3647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kern="1200"/>
            <a:t>4</a:t>
          </a:r>
        </a:p>
      </dsp:txBody>
      <dsp:txXfrm>
        <a:off x="7613000" y="284133"/>
        <a:ext cx="664558" cy="664558"/>
      </dsp:txXfrm>
    </dsp:sp>
    <dsp:sp modelId="{491E39CA-4A0B-465E-945E-73A4DDDE79B2}">
      <dsp:nvSpPr>
        <dsp:cNvPr id="0" name=""/>
        <dsp:cNvSpPr/>
      </dsp:nvSpPr>
      <dsp:spPr>
        <a:xfrm>
          <a:off x="6910009" y="1252092"/>
          <a:ext cx="2070541" cy="1965600"/>
        </a:xfrm>
        <a:prstGeom prst="upArrowCallout">
          <a:avLst>
            <a:gd name="adj1" fmla="val 50000"/>
            <a:gd name="adj2" fmla="val 20000"/>
            <a:gd name="adj3" fmla="val 20000"/>
            <a:gd name="adj4" fmla="val 10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327" tIns="165100" rIns="163327" bIns="165100" numCol="1" spcCol="1270" anchor="t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500" b="1" kern="12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Πληροφορία αποσπασματική                   &amp; 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500" b="1" kern="12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κατακερματισμένη </a:t>
          </a:r>
          <a:endParaRPr lang="en-US" sz="1500" b="1" kern="1200" dirty="0">
            <a:solidFill>
              <a:schemeClr val="accent1">
                <a:lumMod val="50000"/>
              </a:schemeClr>
            </a:solidFill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sp:txBody>
      <dsp:txXfrm>
        <a:off x="6910009" y="1645212"/>
        <a:ext cx="2070541" cy="1572480"/>
      </dsp:txXfrm>
    </dsp:sp>
    <dsp:sp modelId="{65C212A8-9DA0-498E-AA7B-C17EC7072D7E}">
      <dsp:nvSpPr>
        <dsp:cNvPr id="0" name=""/>
        <dsp:cNvSpPr/>
      </dsp:nvSpPr>
      <dsp:spPr>
        <a:xfrm>
          <a:off x="9211484" y="616376"/>
          <a:ext cx="1036282" cy="7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FDB34BD-72DE-476B-B9FB-B654FBD76AEA}">
      <dsp:nvSpPr>
        <dsp:cNvPr id="0" name=""/>
        <dsp:cNvSpPr/>
      </dsp:nvSpPr>
      <dsp:spPr>
        <a:xfrm>
          <a:off x="9777853" y="146499"/>
          <a:ext cx="939826" cy="939826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470" tIns="36470" rIns="36470" bIns="3647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kern="1200"/>
            <a:t>5</a:t>
          </a:r>
          <a:endParaRPr lang="en-US" sz="4400" kern="1200" dirty="0"/>
        </a:p>
      </dsp:txBody>
      <dsp:txXfrm>
        <a:off x="9915487" y="284133"/>
        <a:ext cx="664558" cy="664558"/>
      </dsp:txXfrm>
    </dsp:sp>
    <dsp:sp modelId="{68D66840-FDE1-46D0-AC00-39AC3A590551}">
      <dsp:nvSpPr>
        <dsp:cNvPr id="0" name=""/>
        <dsp:cNvSpPr/>
      </dsp:nvSpPr>
      <dsp:spPr>
        <a:xfrm>
          <a:off x="9210611" y="1252092"/>
          <a:ext cx="2158739" cy="1965600"/>
        </a:xfrm>
        <a:prstGeom prst="upArrowCallout">
          <a:avLst>
            <a:gd name="adj1" fmla="val 50000"/>
            <a:gd name="adj2" fmla="val 20000"/>
            <a:gd name="adj3" fmla="val 20000"/>
            <a:gd name="adj4" fmla="val 10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146" tIns="165100" rIns="170146" bIns="165100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b="1" kern="12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Αδυναμία δευτερογενούς επεξεργασίας των δεδομένων για τη λήψη διορθωτικών ενεργειών &amp; τη χάραξη πολιτικών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 dirty="0">
            <a:latin typeface="Calibri" panose="020F0502020204030204" pitchFamily="34" charset="0"/>
            <a:ea typeface="Calibri" panose="020F0502020204030204" pitchFamily="34" charset="0"/>
            <a:cs typeface="Calibri" panose="020F0502020204030204" pitchFamily="34" charset="0"/>
          </a:endParaRPr>
        </a:p>
      </dsp:txBody>
      <dsp:txXfrm>
        <a:off x="9210611" y="1645212"/>
        <a:ext cx="2158739" cy="15724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A05BF8-139D-4000-861D-35F7758C2E02}">
      <dsp:nvSpPr>
        <dsp:cNvPr id="0" name=""/>
        <dsp:cNvSpPr/>
      </dsp:nvSpPr>
      <dsp:spPr>
        <a:xfrm>
          <a:off x="0" y="399"/>
          <a:ext cx="121920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F5FC10B-7610-408B-B75D-2ECE3032691D}">
      <dsp:nvSpPr>
        <dsp:cNvPr id="0" name=""/>
        <dsp:cNvSpPr/>
      </dsp:nvSpPr>
      <dsp:spPr>
        <a:xfrm>
          <a:off x="0" y="399"/>
          <a:ext cx="2284951" cy="8171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l-GR" sz="20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Σκοπός </a:t>
          </a:r>
        </a:p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l-GR" sz="20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του έργου </a:t>
          </a:r>
          <a:endParaRPr lang="el-GR" sz="2000" b="0" kern="1200" dirty="0">
            <a:solidFill>
              <a:schemeClr val="tx2">
                <a:lumMod val="7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0" y="399"/>
        <a:ext cx="2284951" cy="817169"/>
      </dsp:txXfrm>
    </dsp:sp>
    <dsp:sp modelId="{77761E51-CBFC-44B4-97F4-EA823DF2C25A}">
      <dsp:nvSpPr>
        <dsp:cNvPr id="0" name=""/>
        <dsp:cNvSpPr/>
      </dsp:nvSpPr>
      <dsp:spPr>
        <a:xfrm>
          <a:off x="2454145" y="123661"/>
          <a:ext cx="9570720" cy="5400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Η μέτρηση της ικανοποίησης των πολιτών που έχουν νοσηλευθεί στα Νοσοκομεία του ΕΣΥ.</a:t>
          </a:r>
          <a:endParaRPr lang="el-GR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454145" y="123661"/>
        <a:ext cx="9570720" cy="540058"/>
      </dsp:txXfrm>
    </dsp:sp>
    <dsp:sp modelId="{68297808-50D9-4BFD-88F4-42C330BB781E}">
      <dsp:nvSpPr>
        <dsp:cNvPr id="0" name=""/>
        <dsp:cNvSpPr/>
      </dsp:nvSpPr>
      <dsp:spPr>
        <a:xfrm>
          <a:off x="2284951" y="581316"/>
          <a:ext cx="9753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3D9947-1294-4C3F-88A7-0B81053586ED}">
      <dsp:nvSpPr>
        <dsp:cNvPr id="0" name=""/>
        <dsp:cNvSpPr/>
      </dsp:nvSpPr>
      <dsp:spPr>
        <a:xfrm>
          <a:off x="0" y="0"/>
          <a:ext cx="121920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495BA91-EA1A-451E-893D-88B6D33A33AC}">
      <dsp:nvSpPr>
        <dsp:cNvPr id="0" name=""/>
        <dsp:cNvSpPr/>
      </dsp:nvSpPr>
      <dsp:spPr>
        <a:xfrm>
          <a:off x="0" y="0"/>
          <a:ext cx="2215335" cy="10099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l-GR" sz="20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Ποιοι </a:t>
          </a:r>
        </a:p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l-GR" sz="20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αξιολογούν </a:t>
          </a:r>
          <a:endParaRPr lang="el-GR" sz="2000" b="0" kern="1200" dirty="0">
            <a:solidFill>
              <a:schemeClr val="tx2">
                <a:lumMod val="7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0" y="0"/>
        <a:ext cx="2215335" cy="1009971"/>
      </dsp:txXfrm>
    </dsp:sp>
    <dsp:sp modelId="{045E7550-CE51-43BD-9C13-B62AA1CB16EA}">
      <dsp:nvSpPr>
        <dsp:cNvPr id="0" name=""/>
        <dsp:cNvSpPr/>
      </dsp:nvSpPr>
      <dsp:spPr>
        <a:xfrm>
          <a:off x="2398215" y="46639"/>
          <a:ext cx="9570720" cy="9633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kumimoji="0" lang="en-US" sz="1600" b="0" i="0" u="none" strike="noStrike" kern="1200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Οι πολίτες </a:t>
          </a:r>
          <a:r>
            <a:rPr kumimoji="0" lang="el-GR" sz="16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άνω των 18 ετών που έχουν νοσηλευθεί από μία (1) ημέρα και άνω </a:t>
          </a:r>
          <a:r>
            <a: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σε δημόσιο νοσοκομείο. </a:t>
          </a:r>
          <a:endParaRPr kumimoji="0" lang="en-US" sz="1600" b="0" i="0" u="none" strike="noStrike" kern="1200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</dsp:txBody>
      <dsp:txXfrm>
        <a:off x="2398215" y="46639"/>
        <a:ext cx="9570720" cy="963331"/>
      </dsp:txXfrm>
    </dsp:sp>
    <dsp:sp modelId="{E5C1074D-6D86-4E14-B9D7-B2D86F975A7A}">
      <dsp:nvSpPr>
        <dsp:cNvPr id="0" name=""/>
        <dsp:cNvSpPr/>
      </dsp:nvSpPr>
      <dsp:spPr>
        <a:xfrm>
          <a:off x="2299703" y="777944"/>
          <a:ext cx="9753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09EF55-CA2F-45C3-A849-40BBF417F26C}">
      <dsp:nvSpPr>
        <dsp:cNvPr id="0" name=""/>
        <dsp:cNvSpPr/>
      </dsp:nvSpPr>
      <dsp:spPr>
        <a:xfrm>
          <a:off x="0" y="1373"/>
          <a:ext cx="1219199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C3E5BB-27AF-4865-840C-FD2764A19D56}">
      <dsp:nvSpPr>
        <dsp:cNvPr id="0" name=""/>
        <dsp:cNvSpPr/>
      </dsp:nvSpPr>
      <dsp:spPr>
        <a:xfrm>
          <a:off x="0" y="1373"/>
          <a:ext cx="2121334" cy="28093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kumimoji="0" lang="en-US" sz="2400" b="1" i="0" u="none" strike="noStrike" kern="1200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kumimoji="0" lang="el-GR" sz="2000" b="0" i="0" u="none" strike="noStrike" kern="1200" cap="none" spc="0" normalizeH="0" baseline="0" noProof="0" dirty="0">
            <a:ln>
              <a:noFill/>
            </a:ln>
            <a:solidFill>
              <a:schemeClr val="tx2">
                <a:lumMod val="75000"/>
              </a:schemeClr>
            </a:solidFill>
            <a:effectLst/>
            <a:uLnTx/>
            <a:uFillTx/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l-GR" sz="20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Τι αξιολογείται </a:t>
          </a:r>
          <a:endParaRPr lang="el-GR" sz="2000" b="0" kern="1200" dirty="0">
            <a:solidFill>
              <a:schemeClr val="tx2">
                <a:lumMod val="7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0" y="1373"/>
        <a:ext cx="2121334" cy="2809316"/>
      </dsp:txXfrm>
    </dsp:sp>
    <dsp:sp modelId="{6785C978-88F3-4954-ADCC-70D489BCDACE}">
      <dsp:nvSpPr>
        <dsp:cNvPr id="0" name=""/>
        <dsp:cNvSpPr/>
      </dsp:nvSpPr>
      <dsp:spPr>
        <a:xfrm>
          <a:off x="2304214" y="17988"/>
          <a:ext cx="9570719" cy="3323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1. Προσβασιμότητα</a:t>
          </a:r>
          <a:endParaRPr lang="el-GR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304214" y="17988"/>
        <a:ext cx="9570719" cy="332303"/>
      </dsp:txXfrm>
    </dsp:sp>
    <dsp:sp modelId="{E821F97B-FB4B-4A7F-A4E4-8D47F0FA46AB}">
      <dsp:nvSpPr>
        <dsp:cNvPr id="0" name=""/>
        <dsp:cNvSpPr/>
      </dsp:nvSpPr>
      <dsp:spPr>
        <a:xfrm>
          <a:off x="2121334" y="350291"/>
          <a:ext cx="975359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00BD06-149D-4BB0-9EED-367660465D79}">
      <dsp:nvSpPr>
        <dsp:cNvPr id="0" name=""/>
        <dsp:cNvSpPr/>
      </dsp:nvSpPr>
      <dsp:spPr>
        <a:xfrm>
          <a:off x="2304214" y="366906"/>
          <a:ext cx="9570719" cy="3323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2. Οργάνωση και συντονισμός της φροντίδας</a:t>
          </a:r>
        </a:p>
      </dsp:txBody>
      <dsp:txXfrm>
        <a:off x="2304214" y="366906"/>
        <a:ext cx="9570719" cy="332303"/>
      </dsp:txXfrm>
    </dsp:sp>
    <dsp:sp modelId="{037BE064-1CBC-4EBE-BEAB-6931546372EE}">
      <dsp:nvSpPr>
        <dsp:cNvPr id="0" name=""/>
        <dsp:cNvSpPr/>
      </dsp:nvSpPr>
      <dsp:spPr>
        <a:xfrm>
          <a:off x="2121334" y="699209"/>
          <a:ext cx="975359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88252C4-6F79-4D76-B1DD-9ECD828DD333}">
      <dsp:nvSpPr>
        <dsp:cNvPr id="0" name=""/>
        <dsp:cNvSpPr/>
      </dsp:nvSpPr>
      <dsp:spPr>
        <a:xfrm>
          <a:off x="2304214" y="715825"/>
          <a:ext cx="9570719" cy="3323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3. Ποιότητα φροντίδας και αλληλεπίδραση με το προσωπικό (επικοινωνία, ευγένεια και εμπιστοσύνη) </a:t>
          </a:r>
        </a:p>
      </dsp:txBody>
      <dsp:txXfrm>
        <a:off x="2304214" y="715825"/>
        <a:ext cx="9570719" cy="332303"/>
      </dsp:txXfrm>
    </dsp:sp>
    <dsp:sp modelId="{99F2AAF3-B5F7-4C58-A8B6-D5DDCAF93CDF}">
      <dsp:nvSpPr>
        <dsp:cNvPr id="0" name=""/>
        <dsp:cNvSpPr/>
      </dsp:nvSpPr>
      <dsp:spPr>
        <a:xfrm>
          <a:off x="2121334" y="1048128"/>
          <a:ext cx="975359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7607B2-590F-4919-8DAD-D17E91B31F11}">
      <dsp:nvSpPr>
        <dsp:cNvPr id="0" name=""/>
        <dsp:cNvSpPr/>
      </dsp:nvSpPr>
      <dsp:spPr>
        <a:xfrm>
          <a:off x="2304214" y="1064743"/>
          <a:ext cx="9570719" cy="3323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4. Υποστήριξη και συμμετοχή στη λήψη αποφάσεων</a:t>
          </a:r>
        </a:p>
      </dsp:txBody>
      <dsp:txXfrm>
        <a:off x="2304214" y="1064743"/>
        <a:ext cx="9570719" cy="332303"/>
      </dsp:txXfrm>
    </dsp:sp>
    <dsp:sp modelId="{34C9A3CA-E9C0-4228-B138-494CE9DA25C2}">
      <dsp:nvSpPr>
        <dsp:cNvPr id="0" name=""/>
        <dsp:cNvSpPr/>
      </dsp:nvSpPr>
      <dsp:spPr>
        <a:xfrm>
          <a:off x="2121334" y="1397046"/>
          <a:ext cx="975359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15D840-7EF3-4480-BC7F-72ECB4483A25}">
      <dsp:nvSpPr>
        <dsp:cNvPr id="0" name=""/>
        <dsp:cNvSpPr/>
      </dsp:nvSpPr>
      <dsp:spPr>
        <a:xfrm>
          <a:off x="2304214" y="1413661"/>
          <a:ext cx="9570719" cy="3323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5. Καθαριότητα, υγιεινή και σίτιση </a:t>
          </a:r>
        </a:p>
      </dsp:txBody>
      <dsp:txXfrm>
        <a:off x="2304214" y="1413661"/>
        <a:ext cx="9570719" cy="332303"/>
      </dsp:txXfrm>
    </dsp:sp>
    <dsp:sp modelId="{43B640FE-85AC-4537-BB96-979A1D47B13C}">
      <dsp:nvSpPr>
        <dsp:cNvPr id="0" name=""/>
        <dsp:cNvSpPr/>
      </dsp:nvSpPr>
      <dsp:spPr>
        <a:xfrm>
          <a:off x="2121334" y="1745965"/>
          <a:ext cx="975359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E073640-4B4B-4469-8E5B-D3D456AEC1A2}">
      <dsp:nvSpPr>
        <dsp:cNvPr id="0" name=""/>
        <dsp:cNvSpPr/>
      </dsp:nvSpPr>
      <dsp:spPr>
        <a:xfrm>
          <a:off x="2304214" y="1762580"/>
          <a:ext cx="9570719" cy="3323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6. Υποστήριξη και ενημέρωση κατά την έξοδο από το νοσοκομείο</a:t>
          </a:r>
        </a:p>
      </dsp:txBody>
      <dsp:txXfrm>
        <a:off x="2304214" y="1762580"/>
        <a:ext cx="9570719" cy="332303"/>
      </dsp:txXfrm>
    </dsp:sp>
    <dsp:sp modelId="{74635455-8C00-4FE1-B3A0-C682A5E4CD74}">
      <dsp:nvSpPr>
        <dsp:cNvPr id="0" name=""/>
        <dsp:cNvSpPr/>
      </dsp:nvSpPr>
      <dsp:spPr>
        <a:xfrm>
          <a:off x="2121334" y="2094883"/>
          <a:ext cx="975359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79E872-2A72-44AE-B5E9-13B9E40D6236}">
      <dsp:nvSpPr>
        <dsp:cNvPr id="0" name=""/>
        <dsp:cNvSpPr/>
      </dsp:nvSpPr>
      <dsp:spPr>
        <a:xfrm>
          <a:off x="2304214" y="2111498"/>
          <a:ext cx="9570719" cy="3323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7. Η γνώση ύπαρξης των Γ.Π.Δ.Λ.Υ.Υ. στα νοσοκομεία και η αποτελεσματικότητα εξυπηρέτησης</a:t>
          </a:r>
        </a:p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 </a:t>
          </a:r>
        </a:p>
      </dsp:txBody>
      <dsp:txXfrm>
        <a:off x="2304214" y="2111498"/>
        <a:ext cx="9570719" cy="332303"/>
      </dsp:txXfrm>
    </dsp:sp>
    <dsp:sp modelId="{BCBA2B12-825E-4129-8147-CC22D3EF2C44}">
      <dsp:nvSpPr>
        <dsp:cNvPr id="0" name=""/>
        <dsp:cNvSpPr/>
      </dsp:nvSpPr>
      <dsp:spPr>
        <a:xfrm>
          <a:off x="2121334" y="2443801"/>
          <a:ext cx="975359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CCA2CE1-E030-4C15-8F58-4DB893B911BF}">
      <dsp:nvSpPr>
        <dsp:cNvPr id="0" name=""/>
        <dsp:cNvSpPr/>
      </dsp:nvSpPr>
      <dsp:spPr>
        <a:xfrm>
          <a:off x="2304214" y="2460416"/>
          <a:ext cx="9570719" cy="3323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8. Γενική / συνολική αξιολόγηση της παρεχόμενης φροντίδας </a:t>
          </a:r>
        </a:p>
      </dsp:txBody>
      <dsp:txXfrm>
        <a:off x="2304214" y="2460416"/>
        <a:ext cx="9570719" cy="332303"/>
      </dsp:txXfrm>
    </dsp:sp>
    <dsp:sp modelId="{C7EF50C5-840C-4364-B08E-30D7305D686E}">
      <dsp:nvSpPr>
        <dsp:cNvPr id="0" name=""/>
        <dsp:cNvSpPr/>
      </dsp:nvSpPr>
      <dsp:spPr>
        <a:xfrm>
          <a:off x="2121334" y="2792720"/>
          <a:ext cx="975359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80EBCE-8958-4937-A0F7-72DE32BCF293}">
      <dsp:nvSpPr>
        <dsp:cNvPr id="0" name=""/>
        <dsp:cNvSpPr/>
      </dsp:nvSpPr>
      <dsp:spPr>
        <a:xfrm>
          <a:off x="1973040" y="985112"/>
          <a:ext cx="42188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21884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500" kern="1200"/>
        </a:p>
      </dsp:txBody>
      <dsp:txXfrm>
        <a:off x="2172670" y="1028569"/>
        <a:ext cx="22624" cy="4524"/>
      </dsp:txXfrm>
    </dsp:sp>
    <dsp:sp modelId="{21887C2A-A685-4D88-AEA5-E5E592511652}">
      <dsp:nvSpPr>
        <dsp:cNvPr id="0" name=""/>
        <dsp:cNvSpPr/>
      </dsp:nvSpPr>
      <dsp:spPr>
        <a:xfrm>
          <a:off x="7516" y="440635"/>
          <a:ext cx="1967324" cy="1180394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Εξιτήριο</a:t>
          </a:r>
        </a:p>
      </dsp:txBody>
      <dsp:txXfrm>
        <a:off x="7516" y="440635"/>
        <a:ext cx="1967324" cy="1180394"/>
      </dsp:txXfrm>
    </dsp:sp>
    <dsp:sp modelId="{1B891176-E9A3-4D08-8AB6-46C1DEF0BB61}">
      <dsp:nvSpPr>
        <dsp:cNvPr id="0" name=""/>
        <dsp:cNvSpPr/>
      </dsp:nvSpPr>
      <dsp:spPr>
        <a:xfrm>
          <a:off x="4392849" y="985112"/>
          <a:ext cx="42188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21884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500" kern="1200"/>
        </a:p>
      </dsp:txBody>
      <dsp:txXfrm>
        <a:off x="4592479" y="1028569"/>
        <a:ext cx="22624" cy="4524"/>
      </dsp:txXfrm>
    </dsp:sp>
    <dsp:sp modelId="{5F6A6A0E-7ADB-4A0F-A696-E887F79DF5A4}">
      <dsp:nvSpPr>
        <dsp:cNvPr id="0" name=""/>
        <dsp:cNvSpPr/>
      </dsp:nvSpPr>
      <dsp:spPr>
        <a:xfrm>
          <a:off x="2427325" y="440635"/>
          <a:ext cx="1967324" cy="1180394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Δεδομένα από την ΗΔΙΚΑ                         (αριθμός κινητού τηλεφώνου)</a:t>
          </a:r>
        </a:p>
      </dsp:txBody>
      <dsp:txXfrm>
        <a:off x="2427325" y="440635"/>
        <a:ext cx="1967324" cy="1180394"/>
      </dsp:txXfrm>
    </dsp:sp>
    <dsp:sp modelId="{1C9D30AA-ABCD-4A08-A07B-13E8CF8D1259}">
      <dsp:nvSpPr>
        <dsp:cNvPr id="0" name=""/>
        <dsp:cNvSpPr/>
      </dsp:nvSpPr>
      <dsp:spPr>
        <a:xfrm>
          <a:off x="6812658" y="985112"/>
          <a:ext cx="450371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50371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500" kern="1200"/>
        </a:p>
      </dsp:txBody>
      <dsp:txXfrm>
        <a:off x="7025820" y="1028569"/>
        <a:ext cx="24048" cy="4524"/>
      </dsp:txXfrm>
    </dsp:sp>
    <dsp:sp modelId="{4F61E42E-5694-4757-8820-E201555FEC88}">
      <dsp:nvSpPr>
        <dsp:cNvPr id="0" name=""/>
        <dsp:cNvSpPr/>
      </dsp:nvSpPr>
      <dsp:spPr>
        <a:xfrm>
          <a:off x="4847134" y="440635"/>
          <a:ext cx="1967324" cy="1180394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b="0" kern="12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Δημιουργία           </a:t>
          </a:r>
          <a:r>
            <a:rPr lang="el-GR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μοναδικού </a:t>
          </a:r>
          <a:r>
            <a:rPr lang="en-US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ID </a:t>
          </a:r>
          <a:r>
            <a:rPr lang="el-GR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            </a:t>
          </a: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χωρίς ταυτοποίηση προσώπου</a:t>
          </a:r>
        </a:p>
      </dsp:txBody>
      <dsp:txXfrm>
        <a:off x="4847134" y="440635"/>
        <a:ext cx="1967324" cy="1180394"/>
      </dsp:txXfrm>
    </dsp:sp>
    <dsp:sp modelId="{0ACF431A-4A13-4B5C-8E73-1B0FFC7364CD}">
      <dsp:nvSpPr>
        <dsp:cNvPr id="0" name=""/>
        <dsp:cNvSpPr/>
      </dsp:nvSpPr>
      <dsp:spPr>
        <a:xfrm>
          <a:off x="9260954" y="985112"/>
          <a:ext cx="393397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93397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500" kern="1200"/>
        </a:p>
      </dsp:txBody>
      <dsp:txXfrm>
        <a:off x="9447053" y="1028569"/>
        <a:ext cx="21199" cy="4524"/>
      </dsp:txXfrm>
    </dsp:sp>
    <dsp:sp modelId="{2B174061-4AC3-49FB-94FD-8999EB26AC21}">
      <dsp:nvSpPr>
        <dsp:cNvPr id="0" name=""/>
        <dsp:cNvSpPr/>
      </dsp:nvSpPr>
      <dsp:spPr>
        <a:xfrm>
          <a:off x="7295430" y="440635"/>
          <a:ext cx="1967324" cy="1180394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Δημιουργία            </a:t>
          </a:r>
          <a:r>
            <a:rPr lang="el-GR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μοναδικού συνδέσμου            </a:t>
          </a:r>
          <a:r>
            <a:rPr lang="el-GR" sz="1400" b="0" kern="12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(</a:t>
          </a:r>
          <a:r>
            <a:rPr lang="en-US" sz="1400" b="0" kern="12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URL link</a:t>
          </a:r>
          <a:r>
            <a:rPr lang="el-GR" sz="1400" b="0" kern="12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)</a:t>
          </a:r>
          <a:r>
            <a:rPr lang="en-US" sz="1400" b="0" kern="1200" dirty="0">
              <a:solidFill>
                <a:schemeClr val="bg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 </a:t>
          </a:r>
          <a:endParaRPr lang="el-GR" sz="1400" b="0" kern="1200" dirty="0">
            <a:solidFill>
              <a:schemeClr val="bg1"/>
            </a:solidFill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</dsp:txBody>
      <dsp:txXfrm>
        <a:off x="7295430" y="440635"/>
        <a:ext cx="1967324" cy="1180394"/>
      </dsp:txXfrm>
    </dsp:sp>
    <dsp:sp modelId="{2EE92AD2-D479-49E5-B3DC-DD5658D5917E}">
      <dsp:nvSpPr>
        <dsp:cNvPr id="0" name=""/>
        <dsp:cNvSpPr/>
      </dsp:nvSpPr>
      <dsp:spPr>
        <a:xfrm>
          <a:off x="991178" y="1619229"/>
          <a:ext cx="9679236" cy="421884"/>
        </a:xfrm>
        <a:custGeom>
          <a:avLst/>
          <a:gdLst/>
          <a:ahLst/>
          <a:cxnLst/>
          <a:rect l="0" t="0" r="0" b="0"/>
          <a:pathLst>
            <a:path>
              <a:moveTo>
                <a:pt x="9679236" y="0"/>
              </a:moveTo>
              <a:lnTo>
                <a:pt x="9679236" y="228042"/>
              </a:lnTo>
              <a:lnTo>
                <a:pt x="0" y="228042"/>
              </a:lnTo>
              <a:lnTo>
                <a:pt x="0" y="421884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500" kern="1200"/>
        </a:p>
      </dsp:txBody>
      <dsp:txXfrm>
        <a:off x="5588551" y="1827909"/>
        <a:ext cx="484490" cy="4524"/>
      </dsp:txXfrm>
    </dsp:sp>
    <dsp:sp modelId="{1C787E9E-8347-490C-A4C9-49392C75CAB8}">
      <dsp:nvSpPr>
        <dsp:cNvPr id="0" name=""/>
        <dsp:cNvSpPr/>
      </dsp:nvSpPr>
      <dsp:spPr>
        <a:xfrm>
          <a:off x="9686752" y="440635"/>
          <a:ext cx="1967324" cy="1180394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5 ημέρες</a:t>
          </a: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 μετά το εξιτήριο </a:t>
          </a: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Wingdings" panose="05000000000000000000" pitchFamily="2" charset="2"/>
            </a:rPr>
            <a:t> </a:t>
          </a:r>
          <a:r>
            <a:rPr lang="el-GR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Αποστολή </a:t>
          </a:r>
          <a:r>
            <a:rPr lang="en-US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SMS</a:t>
          </a:r>
          <a:r>
            <a:rPr lang="el-GR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 </a:t>
          </a: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με τον μοναδικό σύνδεσμο</a:t>
          </a:r>
        </a:p>
      </dsp:txBody>
      <dsp:txXfrm>
        <a:off x="9686752" y="440635"/>
        <a:ext cx="1967324" cy="1180394"/>
      </dsp:txXfrm>
    </dsp:sp>
    <dsp:sp modelId="{D05EFF28-2DDC-48AF-8F66-5961F7216790}">
      <dsp:nvSpPr>
        <dsp:cNvPr id="0" name=""/>
        <dsp:cNvSpPr/>
      </dsp:nvSpPr>
      <dsp:spPr>
        <a:xfrm>
          <a:off x="1973040" y="2617991"/>
          <a:ext cx="42188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21884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500" kern="1200"/>
        </a:p>
      </dsp:txBody>
      <dsp:txXfrm>
        <a:off x="2172670" y="2661449"/>
        <a:ext cx="22624" cy="4524"/>
      </dsp:txXfrm>
    </dsp:sp>
    <dsp:sp modelId="{01AC481C-7AD2-4551-9DD4-985E5FFB1341}">
      <dsp:nvSpPr>
        <dsp:cNvPr id="0" name=""/>
        <dsp:cNvSpPr/>
      </dsp:nvSpPr>
      <dsp:spPr>
        <a:xfrm>
          <a:off x="7516" y="2073514"/>
          <a:ext cx="1967324" cy="1180394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Σύνδεση πολίτη</a:t>
          </a:r>
        </a:p>
      </dsp:txBody>
      <dsp:txXfrm>
        <a:off x="7516" y="2073514"/>
        <a:ext cx="1967324" cy="1180394"/>
      </dsp:txXfrm>
    </dsp:sp>
    <dsp:sp modelId="{7EC96E57-976E-4B11-B164-4FA2CCDF659A}">
      <dsp:nvSpPr>
        <dsp:cNvPr id="0" name=""/>
        <dsp:cNvSpPr/>
      </dsp:nvSpPr>
      <dsp:spPr>
        <a:xfrm>
          <a:off x="4392849" y="2617991"/>
          <a:ext cx="42188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21884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500" kern="1200"/>
        </a:p>
      </dsp:txBody>
      <dsp:txXfrm>
        <a:off x="4592479" y="2661449"/>
        <a:ext cx="22624" cy="4524"/>
      </dsp:txXfrm>
    </dsp:sp>
    <dsp:sp modelId="{0E6870D1-90EE-43AF-A19C-2D1A47FE9572}">
      <dsp:nvSpPr>
        <dsp:cNvPr id="0" name=""/>
        <dsp:cNvSpPr/>
      </dsp:nvSpPr>
      <dsp:spPr>
        <a:xfrm>
          <a:off x="2427325" y="2073514"/>
          <a:ext cx="1967324" cy="1180394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Καταχώρηση  </a:t>
          </a:r>
          <a:r>
            <a:rPr lang="el-GR" sz="1400" b="1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ΑΜΚΑ</a:t>
          </a:r>
        </a:p>
      </dsp:txBody>
      <dsp:txXfrm>
        <a:off x="2427325" y="2073514"/>
        <a:ext cx="1967324" cy="1180394"/>
      </dsp:txXfrm>
    </dsp:sp>
    <dsp:sp modelId="{3061AA24-F0D8-443E-8635-ED5B42EC562F}">
      <dsp:nvSpPr>
        <dsp:cNvPr id="0" name=""/>
        <dsp:cNvSpPr/>
      </dsp:nvSpPr>
      <dsp:spPr>
        <a:xfrm>
          <a:off x="6812658" y="2617991"/>
          <a:ext cx="42188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21884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500" kern="1200"/>
        </a:p>
      </dsp:txBody>
      <dsp:txXfrm>
        <a:off x="7012288" y="2661449"/>
        <a:ext cx="22624" cy="4524"/>
      </dsp:txXfrm>
    </dsp:sp>
    <dsp:sp modelId="{144D1900-25DF-4722-B850-28F0E66E28C2}">
      <dsp:nvSpPr>
        <dsp:cNvPr id="0" name=""/>
        <dsp:cNvSpPr/>
      </dsp:nvSpPr>
      <dsp:spPr>
        <a:xfrm>
          <a:off x="4847134" y="2073514"/>
          <a:ext cx="1967324" cy="1180394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Επιβεβαίωση από την ΗΔΙΚΑ ότι ο ΑΜΚΑ αντιστοιχεί σε εξιτήριο</a:t>
          </a:r>
        </a:p>
      </dsp:txBody>
      <dsp:txXfrm>
        <a:off x="4847134" y="2073514"/>
        <a:ext cx="1967324" cy="1180394"/>
      </dsp:txXfrm>
    </dsp:sp>
    <dsp:sp modelId="{F2E88874-E9FC-4F57-A5E0-4BB68194BE8E}">
      <dsp:nvSpPr>
        <dsp:cNvPr id="0" name=""/>
        <dsp:cNvSpPr/>
      </dsp:nvSpPr>
      <dsp:spPr>
        <a:xfrm>
          <a:off x="9232467" y="2617991"/>
          <a:ext cx="42188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21884" y="45720"/>
              </a:lnTo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500" kern="1200"/>
        </a:p>
      </dsp:txBody>
      <dsp:txXfrm>
        <a:off x="9432097" y="2661449"/>
        <a:ext cx="22624" cy="4524"/>
      </dsp:txXfrm>
    </dsp:sp>
    <dsp:sp modelId="{79D38DDC-CC44-4132-AC37-A48C9E64E652}">
      <dsp:nvSpPr>
        <dsp:cNvPr id="0" name=""/>
        <dsp:cNvSpPr/>
      </dsp:nvSpPr>
      <dsp:spPr>
        <a:xfrm>
          <a:off x="7266943" y="2073514"/>
          <a:ext cx="1967324" cy="1180394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Είσοδος στην εφαρμογή</a:t>
          </a:r>
        </a:p>
      </dsp:txBody>
      <dsp:txXfrm>
        <a:off x="7266943" y="2073514"/>
        <a:ext cx="1967324" cy="1180394"/>
      </dsp:txXfrm>
    </dsp:sp>
    <dsp:sp modelId="{4136EC30-1368-418A-92F7-E0D2C62E8593}">
      <dsp:nvSpPr>
        <dsp:cNvPr id="0" name=""/>
        <dsp:cNvSpPr/>
      </dsp:nvSpPr>
      <dsp:spPr>
        <a:xfrm>
          <a:off x="9686752" y="2073514"/>
          <a:ext cx="1967324" cy="1180394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Συμπλήρωση ερωτηματολογίου</a:t>
          </a:r>
        </a:p>
      </dsp:txBody>
      <dsp:txXfrm>
        <a:off x="9686752" y="2073514"/>
        <a:ext cx="1967324" cy="118039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84259B-BFD2-4A90-8EED-85911352224A}">
      <dsp:nvSpPr>
        <dsp:cNvPr id="0" name=""/>
        <dsp:cNvSpPr/>
      </dsp:nvSpPr>
      <dsp:spPr>
        <a:xfrm>
          <a:off x="0" y="27705"/>
          <a:ext cx="11475021" cy="41184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u="none" kern="1200" dirty="0">
              <a:latin typeface="Calibri" panose="020F0502020204030204" pitchFamily="34" charset="0"/>
              <a:cs typeface="Calibri" panose="020F0502020204030204" pitchFamily="34" charset="0"/>
            </a:rPr>
            <a:t>Ο πολίτης λαμβάνει το SMS κατά τις εργάσιμες ημέρες και ώρες </a:t>
          </a:r>
          <a:endParaRPr lang="el-GR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0104" y="47809"/>
        <a:ext cx="11434813" cy="371632"/>
      </dsp:txXfrm>
    </dsp:sp>
    <dsp:sp modelId="{D7458494-B6FE-4BCA-8078-ED7ED544B689}">
      <dsp:nvSpPr>
        <dsp:cNvPr id="0" name=""/>
        <dsp:cNvSpPr/>
      </dsp:nvSpPr>
      <dsp:spPr>
        <a:xfrm>
          <a:off x="0" y="502905"/>
          <a:ext cx="11475021" cy="41184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u="none" kern="1200" dirty="0">
              <a:latin typeface="Calibri" panose="020F0502020204030204" pitchFamily="34" charset="0"/>
              <a:cs typeface="Calibri" panose="020F0502020204030204" pitchFamily="34" charset="0"/>
            </a:rPr>
            <a:t>Προϋπόθεση να έχει ενεργοποιηθεί η άυλη συνταγογράφηση </a:t>
          </a:r>
        </a:p>
      </dsp:txBody>
      <dsp:txXfrm>
        <a:off x="20104" y="523009"/>
        <a:ext cx="11434813" cy="371632"/>
      </dsp:txXfrm>
    </dsp:sp>
    <dsp:sp modelId="{67287DB5-9066-4D27-B66D-14FFCAC64234}">
      <dsp:nvSpPr>
        <dsp:cNvPr id="0" name=""/>
        <dsp:cNvSpPr/>
      </dsp:nvSpPr>
      <dsp:spPr>
        <a:xfrm>
          <a:off x="0" y="978105"/>
          <a:ext cx="11475021" cy="41184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u="none" kern="1200" dirty="0">
              <a:latin typeface="Calibri" panose="020F0502020204030204" pitchFamily="34" charset="0"/>
              <a:cs typeface="Calibri" panose="020F0502020204030204" pitchFamily="34" charset="0"/>
            </a:rPr>
            <a:t>Η δυνατότητα αξιολόγησης παραμένει ενεργή για </a:t>
          </a:r>
          <a:r>
            <a:rPr lang="el-GR" sz="1600" b="1" u="none" kern="120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7 ημέρες</a:t>
          </a:r>
          <a:endParaRPr lang="el-GR" b="1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20104" y="998209"/>
        <a:ext cx="11434813" cy="37163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E63647-0D37-42E9-8757-67D0034D7BDB}">
      <dsp:nvSpPr>
        <dsp:cNvPr id="0" name=""/>
        <dsp:cNvSpPr/>
      </dsp:nvSpPr>
      <dsp:spPr>
        <a:xfrm>
          <a:off x="1226674" y="67"/>
          <a:ext cx="2493592" cy="149615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b="1" kern="120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Υπουργείο Υγείας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kern="1200" dirty="0">
              <a:latin typeface="Calibri" panose="020F0502020204030204" pitchFamily="34" charset="0"/>
              <a:cs typeface="Calibri" panose="020F0502020204030204" pitchFamily="34" charset="0"/>
            </a:rPr>
            <a:t>Πρόσβαση στο σύνολο των δεδομένων </a:t>
          </a:r>
        </a:p>
      </dsp:txBody>
      <dsp:txXfrm>
        <a:off x="1226674" y="67"/>
        <a:ext cx="2493592" cy="1496155"/>
      </dsp:txXfrm>
    </dsp:sp>
    <dsp:sp modelId="{94F775C0-D8C3-4FA5-A4FE-F863321B7632}">
      <dsp:nvSpPr>
        <dsp:cNvPr id="0" name=""/>
        <dsp:cNvSpPr/>
      </dsp:nvSpPr>
      <dsp:spPr>
        <a:xfrm>
          <a:off x="3969626" y="67"/>
          <a:ext cx="2493592" cy="149615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b="1" kern="120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Δ.Υ.Πε.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kern="1200" dirty="0">
              <a:latin typeface="Calibri" panose="020F0502020204030204" pitchFamily="34" charset="0"/>
              <a:cs typeface="Calibri" panose="020F0502020204030204" pitchFamily="34" charset="0"/>
            </a:rPr>
            <a:t>Πρόσβαση στα δεδομένα των νοσοκομείων αρμοδιότητάς της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3969626" y="67"/>
        <a:ext cx="2493592" cy="1496155"/>
      </dsp:txXfrm>
    </dsp:sp>
    <dsp:sp modelId="{9699D65D-6981-4DCB-82D0-15AA38A26611}">
      <dsp:nvSpPr>
        <dsp:cNvPr id="0" name=""/>
        <dsp:cNvSpPr/>
      </dsp:nvSpPr>
      <dsp:spPr>
        <a:xfrm>
          <a:off x="6712578" y="67"/>
          <a:ext cx="2493592" cy="149615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b="1" kern="120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Νοσοκομεία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kern="1200" dirty="0">
              <a:latin typeface="Calibri" panose="020F0502020204030204" pitchFamily="34" charset="0"/>
              <a:cs typeface="Calibri" panose="020F0502020204030204" pitchFamily="34" charset="0"/>
            </a:rPr>
            <a:t>Πρόσβαση στα δεδομένα που αφορούν στο συγκεκριμένο νοσοκομείο</a:t>
          </a:r>
        </a:p>
      </dsp:txBody>
      <dsp:txXfrm>
        <a:off x="6712578" y="67"/>
        <a:ext cx="2493592" cy="149615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69B51B-3B8F-4A1B-AE60-6ECEE7A127BC}">
      <dsp:nvSpPr>
        <dsp:cNvPr id="0" name=""/>
        <dsp:cNvSpPr/>
      </dsp:nvSpPr>
      <dsp:spPr>
        <a:xfrm>
          <a:off x="0" y="1628"/>
          <a:ext cx="1140069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466D7F-F857-40CF-9037-5044E5F5CAB2}">
      <dsp:nvSpPr>
        <dsp:cNvPr id="0" name=""/>
        <dsp:cNvSpPr/>
      </dsp:nvSpPr>
      <dsp:spPr>
        <a:xfrm>
          <a:off x="0" y="1628"/>
          <a:ext cx="2280139" cy="33310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b="1" kern="1200" dirty="0">
            <a:solidFill>
              <a:schemeClr val="tx2">
                <a:lumMod val="7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1800" b="0" kern="1200" dirty="0">
            <a:solidFill>
              <a:schemeClr val="tx2">
                <a:lumMod val="7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1400" b="0" kern="1200" dirty="0">
            <a:solidFill>
              <a:schemeClr val="tx2">
                <a:lumMod val="7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1400" b="0" kern="1200" dirty="0">
            <a:solidFill>
              <a:schemeClr val="tx2">
                <a:lumMod val="7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b="1" kern="120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Τα </a:t>
          </a:r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b="1" kern="120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(ανωνυμοποιημένα) Δεδομένα </a:t>
          </a:r>
        </a:p>
      </dsp:txBody>
      <dsp:txXfrm>
        <a:off x="0" y="1628"/>
        <a:ext cx="2280139" cy="3331070"/>
      </dsp:txXfrm>
    </dsp:sp>
    <dsp:sp modelId="{BED67B0F-0932-4CD7-BEF7-96CB730C9BBA}">
      <dsp:nvSpPr>
        <dsp:cNvPr id="0" name=""/>
        <dsp:cNvSpPr/>
      </dsp:nvSpPr>
      <dsp:spPr>
        <a:xfrm>
          <a:off x="2451149" y="33019"/>
          <a:ext cx="8949545" cy="6278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cs typeface="Calibri" panose="020F0502020204030204" pitchFamily="34" charset="0"/>
            </a:rPr>
            <a:t>Συλλέγονται &amp; αποθηκεύονται σε </a:t>
          </a:r>
          <a:r>
            <a:rPr lang="el-GR" sz="1400" b="1" kern="120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ιστορική βάση δεδομένων</a:t>
          </a:r>
          <a:r>
            <a:rPr lang="el-GR" sz="1400" kern="1200" dirty="0">
              <a:latin typeface="Calibri" panose="020F0502020204030204" pitchFamily="34" charset="0"/>
              <a:cs typeface="Calibri" panose="020F0502020204030204" pitchFamily="34" charset="0"/>
            </a:rPr>
            <a:t>. </a:t>
          </a:r>
        </a:p>
      </dsp:txBody>
      <dsp:txXfrm>
        <a:off x="2451149" y="33019"/>
        <a:ext cx="8949545" cy="627828"/>
      </dsp:txXfrm>
    </dsp:sp>
    <dsp:sp modelId="{C81C7ED6-39D1-4904-976C-998508D1B108}">
      <dsp:nvSpPr>
        <dsp:cNvPr id="0" name=""/>
        <dsp:cNvSpPr/>
      </dsp:nvSpPr>
      <dsp:spPr>
        <a:xfrm>
          <a:off x="2280138" y="660848"/>
          <a:ext cx="912055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5BCBDC-710A-497F-8D7B-C999147E3A7A}">
      <dsp:nvSpPr>
        <dsp:cNvPr id="0" name=""/>
        <dsp:cNvSpPr/>
      </dsp:nvSpPr>
      <dsp:spPr>
        <a:xfrm>
          <a:off x="2451149" y="692239"/>
          <a:ext cx="8949545" cy="6278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cs typeface="Calibri" panose="020F0502020204030204" pitchFamily="34" charset="0"/>
            </a:rPr>
            <a:t>Παρέχεται η δυνατότητα συγκεντρωτικής παρουσίασής τους σε </a:t>
          </a:r>
          <a:r>
            <a:rPr lang="el-GR" sz="1400" b="1" kern="120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σύστημα διοικητικής πληροφόρησης</a:t>
          </a:r>
          <a:r>
            <a:rPr lang="el-GR" sz="1400" kern="1200" dirty="0">
              <a:latin typeface="Calibri" panose="020F0502020204030204" pitchFamily="34" charset="0"/>
              <a:cs typeface="Calibri" panose="020F0502020204030204" pitchFamily="34" charset="0"/>
            </a:rPr>
            <a:t>.</a:t>
          </a:r>
        </a:p>
      </dsp:txBody>
      <dsp:txXfrm>
        <a:off x="2451149" y="692239"/>
        <a:ext cx="8949545" cy="627828"/>
      </dsp:txXfrm>
    </dsp:sp>
    <dsp:sp modelId="{67F64BCF-6B2D-43B2-AB56-D1312FE70AEA}">
      <dsp:nvSpPr>
        <dsp:cNvPr id="0" name=""/>
        <dsp:cNvSpPr/>
      </dsp:nvSpPr>
      <dsp:spPr>
        <a:xfrm>
          <a:off x="2280138" y="1320068"/>
          <a:ext cx="912055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5D148A-FA4E-46FA-9BC8-FA289F627242}">
      <dsp:nvSpPr>
        <dsp:cNvPr id="0" name=""/>
        <dsp:cNvSpPr/>
      </dsp:nvSpPr>
      <dsp:spPr>
        <a:xfrm>
          <a:off x="2451149" y="1351459"/>
          <a:ext cx="8949545" cy="6278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cs typeface="Calibri" panose="020F0502020204030204" pitchFamily="34" charset="0"/>
            </a:rPr>
            <a:t>Βάσει των δεδομένων προκύπτει </a:t>
          </a:r>
          <a:r>
            <a:rPr lang="el-GR" sz="1400" b="1" kern="120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συγκεκριμένη βαθμολογία </a:t>
          </a:r>
          <a:r>
            <a:rPr lang="el-GR" sz="1400" u="sng" kern="1200" dirty="0">
              <a:latin typeface="Calibri" panose="020F0502020204030204" pitchFamily="34" charset="0"/>
              <a:cs typeface="Calibri" panose="020F0502020204030204" pitchFamily="34" charset="0"/>
            </a:rPr>
            <a:t>ανά Άξονα Αξιολόγησης, ανά νοσοκομείο και ανά κλινική</a:t>
          </a:r>
          <a:r>
            <a:rPr lang="el-GR" sz="1400" kern="1200" dirty="0">
              <a:latin typeface="Calibri" panose="020F0502020204030204" pitchFamily="34" charset="0"/>
              <a:cs typeface="Calibri" panose="020F0502020204030204" pitchFamily="34" charset="0"/>
            </a:rPr>
            <a:t>, ώστε να είναι εφικτή η συστηματική και διαχρονική παρακολούθηση &amp; αποτίμηση της πορείας στον χρόνο, καθώς και η πραγματοποίηση συγκρίσεων. </a:t>
          </a:r>
        </a:p>
      </dsp:txBody>
      <dsp:txXfrm>
        <a:off x="2451149" y="1351459"/>
        <a:ext cx="8949545" cy="627828"/>
      </dsp:txXfrm>
    </dsp:sp>
    <dsp:sp modelId="{BCCE7361-BAF1-434C-90F5-79FE61C0BAF9}">
      <dsp:nvSpPr>
        <dsp:cNvPr id="0" name=""/>
        <dsp:cNvSpPr/>
      </dsp:nvSpPr>
      <dsp:spPr>
        <a:xfrm>
          <a:off x="2280138" y="1979288"/>
          <a:ext cx="912055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FEB73C-5B3D-4E57-B077-C3B8BA2F003E}">
      <dsp:nvSpPr>
        <dsp:cNvPr id="0" name=""/>
        <dsp:cNvSpPr/>
      </dsp:nvSpPr>
      <dsp:spPr>
        <a:xfrm>
          <a:off x="2451149" y="2010680"/>
          <a:ext cx="8949545" cy="6278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cs typeface="Calibri" panose="020F0502020204030204" pitchFamily="34" charset="0"/>
            </a:rPr>
            <a:t>Προβλέπεται </a:t>
          </a:r>
          <a:r>
            <a:rPr lang="el-GR" sz="1400" b="1" kern="120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διαβαθμισμένη πρόσβαση </a:t>
          </a:r>
          <a:r>
            <a:rPr lang="el-GR" sz="1400" kern="1200" dirty="0">
              <a:latin typeface="Calibri" panose="020F0502020204030204" pitchFamily="34" charset="0"/>
              <a:cs typeface="Calibri" panose="020F0502020204030204" pitchFamily="34" charset="0"/>
            </a:rPr>
            <a:t>στα δεδομένα, μόνο σε εξουσιοδοτημένους χρήστες. </a:t>
          </a:r>
        </a:p>
      </dsp:txBody>
      <dsp:txXfrm>
        <a:off x="2451149" y="2010680"/>
        <a:ext cx="8949545" cy="627828"/>
      </dsp:txXfrm>
    </dsp:sp>
    <dsp:sp modelId="{AC580ABB-2554-40F1-BCC7-96345D051672}">
      <dsp:nvSpPr>
        <dsp:cNvPr id="0" name=""/>
        <dsp:cNvSpPr/>
      </dsp:nvSpPr>
      <dsp:spPr>
        <a:xfrm>
          <a:off x="2280138" y="2638508"/>
          <a:ext cx="912055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0CC7A96-85C7-46FF-A46E-DCFAA48EFD61}">
      <dsp:nvSpPr>
        <dsp:cNvPr id="0" name=""/>
        <dsp:cNvSpPr/>
      </dsp:nvSpPr>
      <dsp:spPr>
        <a:xfrm>
          <a:off x="2451149" y="2669900"/>
          <a:ext cx="8949545" cy="6278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400" kern="1200" dirty="0">
              <a:latin typeface="Calibri" panose="020F0502020204030204" pitchFamily="34" charset="0"/>
              <a:cs typeface="Calibri" panose="020F0502020204030204" pitchFamily="34" charset="0"/>
            </a:rPr>
            <a:t>Συγκεντρώνονται σε </a:t>
          </a:r>
          <a:r>
            <a:rPr lang="el-GR" sz="1400" b="1" kern="120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Ετήσια Έκθεση Πεπραγμένων</a:t>
          </a:r>
          <a:r>
            <a:rPr lang="el-GR" sz="1400" kern="1200" dirty="0">
              <a:latin typeface="Calibri" panose="020F0502020204030204" pitchFamily="34" charset="0"/>
              <a:cs typeface="Calibri" panose="020F0502020204030204" pitchFamily="34" charset="0"/>
            </a:rPr>
            <a:t>, όπου αναφέρονται τα θετικά σημεία, οι αδυναμίες &amp; οι ενέργειες για την επίλυση των προβλημάτων που εντοπίστηκαν. </a:t>
          </a:r>
        </a:p>
      </dsp:txBody>
      <dsp:txXfrm>
        <a:off x="2451149" y="2669900"/>
        <a:ext cx="8949545" cy="627828"/>
      </dsp:txXfrm>
    </dsp:sp>
    <dsp:sp modelId="{8F4FD88F-A6E2-4FF2-B985-D1D7B35877A8}">
      <dsp:nvSpPr>
        <dsp:cNvPr id="0" name=""/>
        <dsp:cNvSpPr/>
      </dsp:nvSpPr>
      <dsp:spPr>
        <a:xfrm>
          <a:off x="2280138" y="3297729"/>
          <a:ext cx="912055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6/7/layout/LinearArrowProcessNumbered">
  <dgm:title val="Linear Arrow Process Numbered"/>
  <dgm:desc val="Used to show a progression; a timeline; sequential steps in a task, process, or workflow; or to emphasize movement or direction. Automatic numbers have been introduced to show the steps of the process which appears in a circle. Level 1 and Level 2 text appear in a shape called UpArrowCallout. Also the nodes are connected by an arrow like shape emphasizing the process nature."/>
  <dgm:catLst>
    <dgm:cat type="process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101" type="sibTrans" cxnId="4">
          <dgm:prSet phldrT="1"/>
          <dgm:t>
            <a:bodyPr/>
            <a:lstStyle/>
            <a:p>
              <a:r>
                <a:t>1</a:t>
              </a:r>
            </a:p>
          </dgm:t>
        </dgm:pt>
        <dgm:pt modelId="201" type="sibTrans" cxnId="5">
          <dgm:prSet phldrT="2"/>
          <dgm:t>
            <a:bodyPr/>
            <a:lstStyle/>
            <a:p>
              <a:r>
                <a:t>2</a:t>
              </a:r>
            </a:p>
          </dgm:t>
        </dgm:pt>
        <dgm:pt modelId="301" type="sibTrans" cxnId="6">
          <dgm:prSet phldrT="3"/>
          <dgm:t>
            <a:bodyPr/>
            <a:lstStyle/>
            <a:p>
              <a:r>
                <a:t>3</a:t>
              </a:r>
            </a:p>
          </dgm:t>
        </dgm:pt>
      </dgm:ptLst>
      <dgm:cxnLst>
        <dgm:cxn modelId="4" srcId="0" destId="1" srcOrd="0" destOrd="0" sibTransId="101"/>
        <dgm:cxn modelId="5" srcId="0" destId="2" srcOrd="1" destOrd="0" sibTransId="201"/>
        <dgm:cxn modelId="6" srcId="0" destId="3" srcOrd="3" destOrd="0" sibTransId="301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L"/>
      <dgm:param type="nodeVertAlign" val="t"/>
    </dgm:alg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op="equ"/>
      <dgm:constr type="w" for="ch" forName="sibTransComposite" refType="w" refFor="ch" refForName="compositeNode" fact="0"/>
      <dgm:constr type="w" for="des" forName="parTx"/>
      <dgm:constr type="h" for="des" forName="parTx" op="equ"/>
      <dgm:constr type="h" for="des" forName="parSh" op="equ"/>
      <dgm:constr type="w" for="des" forName="nodeText"/>
      <dgm:constr type="h" for="des" forName="nodeText" op="equ"/>
      <dgm:constr type="w" for="des" forName="parSh"/>
      <dgm:constr type="w" for="des" forName="parSh" op="equ"/>
      <dgm:constr type="primFontSz" for="des" forName="parTx" val="26"/>
      <dgm:constr type="primFontSz" for="des" forName="parTx" op="equ"/>
      <dgm:constr type="primFontSz" for="des" forName="parSh" op="equ"/>
      <dgm:constr type="primFontSz" for="des" forName="nodeText" op="equ"/>
      <dgm:constr type="secFontSz" for="des" forName="nodeText" op="equ"/>
      <dgm:constr type="primFontSz" for="des" forName="sibTransNodeCircle" op="equ"/>
      <dgm:constr type="h" for="des" forName="sibTransNodeCircle" op="equ"/>
      <dgm:constr type="w" for="des" forName="sibTransNodeCircle" op="equ"/>
      <dgm:constr type="h" for="des" forName="parTx" refType="primFontSz" refFor="des" refForName="parTx" fact="1.5"/>
      <dgm:constr type="h" for="ch" forName="compositeNode" refType="h"/>
      <dgm:constr type="h" for="des" forName="parSh" refType="w"/>
      <dgm:constr type="h" for="des" forName="nodeText" refType="primFontSz" refFor="des" refForName="parTx" fact="2.1"/>
      <dgm:constr type="h" for="des" forName="parSh" refType="h" refFor="des" refForName="parTx" op="lte" fact="1.2"/>
      <dgm:constr type="h" for="des" forName="parSh" refType="h" refFor="des" refForName="parTx" op="gte" fact="1.2"/>
    </dgm:constrLst>
    <dgm:ruleLst>
      <dgm:rule type="primFontSz" for="des" forName="parSh" val="5" fact="NaN" max="NaN"/>
    </dgm:ruleLst>
    <dgm:forEach name="Name3" axis="ch" ptType="node">
      <dgm:layoutNode name="compositeNode">
        <dgm:alg type="composite"/>
        <dgm:shape xmlns:r="http://schemas.openxmlformats.org/officeDocument/2006/relationships" r:blip="">
          <dgm:adjLst/>
        </dgm:shape>
        <dgm:presOf/>
        <dgm:choose name="Name004">
          <dgm:if name="Name5" axis="self" ptType="node" func="cnt" op="equ" val="0">
            <dgm:constrLst>
              <dgm:constr type="w" for="ch" forName="parTx" refType="w"/>
              <dgm:constr type="w" for="ch" forName="parSh" refType="w" refFor="ch" refForName="parTx"/>
              <dgm:constr type="w" for="ch" forName="nodeText" refType="w" refFor="ch" refForName="parTx"/>
              <dgm:constr type="t" for="ch" forName="nodeText" refType="b" refFor="ch" refForName="parSh"/>
            </dgm:constrLst>
          </dgm:if>
          <dgm:else name="Name6">
            <dgm:constrLst>
              <dgm:constr type="w" for="ch" forName="parTx" refType="w"/>
              <dgm:constr type="w" for="ch" forName="parSh" refType="w" refFor="ch" refForName="parTx"/>
              <dgm:constr type="w" for="ch" forName="nodeText" refType="w" refFor="ch" refForName="parTx" fact="0.9"/>
              <dgm:constr type="t" for="ch" forName="nodeText" refType="b" refFor="ch" refForName="parSh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zOrderOff="1" hideGeom="1">
            <dgm:adjLst/>
          </dgm:shape>
          <dgm:presOf/>
          <dgm:constrLst>
            <dgm:constr type="h" refType="w" op="lte" fact="0.4"/>
            <dgm:constr type="h"/>
          </dgm:constrLst>
          <dgm:ruleLst>
            <dgm:rule type="h" val="INF" fact="NaN" max="NaN"/>
          </dgm:ruleLst>
        </dgm:layoutNode>
        <dgm:layoutNode name="parSh">
          <dgm:alg type="composite"/>
          <dgm:shape xmlns:r="http://schemas.openxmlformats.org/officeDocument/2006/relationships" r:blip="">
            <dgm:adjLst/>
          </dgm:shape>
          <dgm:presOf axis="self" ptType="node"/>
          <dgm:choose name="casesForFirstAndLastNode">
            <dgm:if name="ifFirstNode" axis="self" ptType="node" func="pos" op="equ" val="1">
              <dgm:choose name="removeLineWhenOnlyOneNode">
                <dgm:if name="ifOnlyOneNode" axis="followSib" ptType="node" func="cnt" op="equ" val="0">
                  <dgm:constrLst>
                    <dgm:constr type="h"/>
                    <dgm:constr type="h" for="ch" forName="lineNode" val="0.002"/>
                    <dgm:constr type="w" for="ch" forName="lineNode" refType="w" fact="0"/>
                    <dgm:constr type="w" for="ch" forName="lineArrowNode" refType="w" fact="0"/>
                    <dgm:constr type="h" for="ch" forName="lineArrowNode" refType="h" fact="0"/>
                    <dgm:constr type="ctrY" for="ch" forName="lineNode" refType="ctrY" refFor="ch" refForName="sibTransNodeCircle"/>
                    <dgm:constr type="h" for="ch" forName="sibTransNodeCircle" refType="h" fact="0.9"/>
                    <dgm:constr type="w" for="ch" forName="sibTransNodeCircle" refType="h" refFor="ch" refForName="sibTransNodeCircle"/>
                    <dgm:constr type="ctrX" for="ch" forName="sibTransNodeCircle" refType="w" fact="0.45"/>
                    <dgm:constr type="ctrY" for="ch" forName="sibTransNodeCircle" refType="h" fact="0.25"/>
                    <dgm:constr type="t" for="ch" forName="spacerBetweenCircleAndCallout" refType="b" refFor="ch" refForName="sibTransNodeCircle"/>
                    <dgm:constr type="h" for="ch" forName="spacerBetweenCircleAndCallout" val="4.6"/>
                  </dgm:constrLst>
                </dgm:if>
                <dgm:else name="ifMoreThanOneNode">
                  <dgm:constrLst>
                    <dgm:constr type="h"/>
                    <dgm:constr type="h" for="ch" forName="lineNode" val="0.002"/>
                    <dgm:constr type="w" for="ch" forName="lineNode" refType="w" fact="0.4"/>
                    <dgm:constr type="l" for="ch" forName="lineNode" refType="w" fact="0.5"/>
                    <dgm:constr type="w" for="ch" forName="lineArrowNode" refType="w" fact="0.046"/>
                    <dgm:constr type="h" for="ch" forName="lineArrowNode" refType="h" fact="0.18"/>
                    <dgm:constr type="l" for="ch" forName="lineArrowNode" refType="w" fact="0.924"/>
                    <dgm:constr type="t" for="ch" forName="lineArrowNode" refType="h" fact="0.18"/>
                    <dgm:constr type="ctrY" for="ch" forName="lineNode" refType="ctrY" refFor="ch" refForName="sibTransNodeCircle"/>
                    <dgm:constr type="h" for="ch" forName="sibTransNodeCircle" refType="h" fact="0.9"/>
                    <dgm:constr type="w" for="ch" forName="sibTransNodeCircle" refType="h" refFor="ch" refForName="sibTransNodeCircle"/>
                    <dgm:constr type="ctrX" for="ch" forName="sibTransNodeCircle" refType="w" fact="0.45"/>
                    <dgm:constr type="ctrY" for="ch" forName="sibTransNodeCircle" refType="h" fact="0.25"/>
                    <dgm:constr type="t" for="ch" forName="spacerBetweenCircleAndCallout" refType="b" refFor="ch" refForName="sibTransNodeCircle"/>
                    <dgm:constr type="h" for="ch" forName="spacerBetweenCircleAndCallout" val="4.6"/>
                  </dgm:constrLst>
                </dgm:else>
              </dgm:choose>
            </dgm:if>
            <dgm:if name="ifLastNode" axis="self" ptType="node" func="revPos" op="equ" val="1">
              <dgm:constrLst>
                <dgm:constr type="h"/>
                <dgm:constr type="h" for="ch" forName="lineNode" val="0.002"/>
                <dgm:constr type="w" for="ch" forName="lineNode" refType="w" fact="0.45"/>
                <dgm:constr type="w" for="ch" forName="lineArrowNode" refType="w" fact="0"/>
                <dgm:constr type="h" for="ch" forName="lineArrowNode" refType="h" fact="0"/>
                <dgm:constr type="ctrY" for="ch" forName="lineNode" refType="ctrY" refFor="ch" refForName="sibTransNodeCircle"/>
                <dgm:constr type="h" for="ch" forName="sibTransNodeCircle" refType="h"/>
                <dgm:constr type="w" for="ch" forName="sibTransNodeCircle" refType="h" refFor="ch" refForName="sibTransNodeCircle"/>
                <dgm:constr type="ctrX" for="ch" forName="sibTransNodeCircle" refType="w" fact="0.45"/>
                <dgm:constr type="ctrY" for="ch" forName="sibTransNodeCircle" refType="h" fact="0.25"/>
                <dgm:constr type="t" for="ch" forName="spacerBetweenCircleAndCallout" refType="b" refFor="ch" refForName="sibTransNodeCircle"/>
                <dgm:constr type="h" for="ch" forName="spacerBetweenCircleAndCallout" val="4.6"/>
              </dgm:constrLst>
            </dgm:if>
            <dgm:else name="allOtherNodes">
              <dgm:constrLst>
                <dgm:constr type="h"/>
                <dgm:constr type="h" for="ch" forName="lineNode" val="0.002"/>
                <dgm:constr type="w" for="ch" forName="lineNode" refType="w" fact="0.9"/>
                <dgm:constr type="w" for="ch" forName="lineArrowNode" refType="w" fact="0.046"/>
                <dgm:constr type="h" for="ch" forName="lineArrowNode" refType="h" fact="0.18"/>
                <dgm:constr type="l" for="ch" forName="lineArrowNode" refType="w" fact="0.924"/>
                <dgm:constr type="t" for="ch" forName="lineArrowNode" refType="h" fact="0.18"/>
                <dgm:constr type="ctrY" for="ch" forName="lineNode" refType="ctrY" refFor="ch" refForName="sibTransNodeCircle"/>
                <dgm:constr type="h" for="ch" forName="sibTransNodeCircle" refType="h" fact="0.9"/>
                <dgm:constr type="w" for="ch" forName="sibTransNodeCircle" refType="h" refFor="ch" refForName="sibTransNodeCircle"/>
                <dgm:constr type="ctrX" for="ch" forName="sibTransNodeCircle" refType="w" fact="0.45"/>
                <dgm:constr type="ctrY" for="ch" forName="sibTransNodeCircle" refType="h" fact="0.25"/>
                <dgm:constr type="t" for="ch" forName="spacerBetweenCircleAndCallout" refType="b" refFor="ch" refForName="sibTransNodeCircle"/>
                <dgm:constr type="h" for="ch" forName="spacerBetweenCircleAndCallout" val="4.6"/>
              </dgm:constrLst>
            </dgm:else>
          </dgm:choose>
          <dgm:layoutNode name="lineNode" styleLbl="alignAccFollowNode1">
            <dgm:alg type="sp"/>
            <dgm:shape xmlns:r="http://schemas.openxmlformats.org/officeDocument/2006/relationships" type="rect" r:blip="">
              <dgm:adjLst/>
            </dgm:shape>
            <dgm:presOf/>
            <dgm:constrLst/>
            <dgm:ruleLst/>
          </dgm:layoutNode>
          <dgm:layoutNode name="lineArrowNode" styleLbl="alignAccFollowNode1">
            <dgm:alg type="sp"/>
            <dgm:shape xmlns:r="http://schemas.openxmlformats.org/officeDocument/2006/relationships" type="chevron" r:blip="">
              <dgm:adjLst>
                <dgm:adj idx="1" val="0.9"/>
              </dgm:adjLst>
            </dgm:shape>
            <dgm:presOf/>
            <dgm:ruleLst/>
          </dgm:layoutNode>
          <dgm:forEach name="Name19" axis="followSib" ptType="sibTrans" hideLastTrans="0" cnt="1">
            <dgm:layoutNode name="sibTransNodeCircle" styleLbl="alignNode1">
              <dgm:varLst>
                <dgm:chMax val="0"/>
                <dgm:bulletEnabled/>
              </dgm:varLst>
              <dgm:presOf axis="self" ptType="sibTrans"/>
              <dgm:alg type="tx">
                <dgm:param type="txAnchorVert" val="mid"/>
                <dgm:param type="txAnchorHorzCh" val="ctr"/>
                <dgm:param type="parTxRTLAlign" val="l"/>
              </dgm:alg>
              <dgm:shape xmlns:r="http://schemas.openxmlformats.org/officeDocument/2006/relationships" type="ellipse" r:blip="">
                <dgm:adjLst/>
              </dgm:shape>
              <dgm:constrLst>
                <dgm:constr type="w" refType="h" op="equ"/>
                <dgm:constr type="primFontSz" val="60"/>
                <dgm:constr type="tMarg" refType="w" fact="0.11"/>
                <dgm:constr type="lMarg" refType="w" fact="0.11"/>
                <dgm:constr type="rMarg" refType="w" fact="0.11"/>
                <dgm:constr type="bMarg" refType="w" fact="0.11"/>
              </dgm:constrLst>
              <dgm:ruleLst>
                <dgm:rule type="primFontSz" val="14" fact="NaN" max="NaN"/>
              </dgm:ruleLst>
            </dgm:layoutNode>
            <dgm:layoutNode name="spacerBetweenCircleAndCallout">
              <dgm:varLst/>
              <dgm:presOf/>
              <dgm:alg type="sp"/>
              <dgm:shape xmlns:r="http://schemas.openxmlformats.org/officeDocument/2006/relationships" r:blip="">
                <dgm:adjLst/>
              </dgm:shape>
              <dgm:constrLst/>
              <dgm:ruleLst/>
            </dgm:layoutNode>
          </dgm:forEach>
          <dgm:presOf/>
          <dgm:ruleLst/>
        </dgm:layoutNode>
        <dgm:layoutNode name="nodeText" styleLbl="alignAccFollowNode1">
          <dgm:varLst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upArrowCallout" r:blip="">
            <dgm:adjLst>
              <dgm:adj idx="1" val="0.5"/>
              <dgm:adj idx="2" val="0.2"/>
              <dgm:adj idx="3" val="0.2"/>
              <dgm:adj idx="4" val="1"/>
            </dgm:adjLst>
          </dgm:shape>
          <dgm:presOf axis="desOrSelf" ptType="node"/>
          <dgm:constrLst>
            <dgm:constr type="secFontSz" val="16"/>
            <dgm:constr type="primFontSz" val="26"/>
            <dgm:constr type="h"/>
            <dgm:constr type="tMarg" val="13"/>
            <dgm:constr type="lMarg" refType="w" fact="0.2236"/>
            <dgm:constr type="rMarg" refType="w" fact="0.2236"/>
            <dgm:constr type="bMarg" val="13"/>
          </dgm:constrLst>
          <dgm:ruleLst>
            <dgm:rule type="secFontSz" val="11" fact="NaN" max="NaN"/>
            <dgm:rule type="primFontSz" val="11" fact="NaN" max="NaN"/>
            <dgm:rule type="h" val="INF" fact="NaN" max="NaN"/>
          </dgm:ruleLst>
        </dgm:layoutNode>
      </dgm:layoutNode>
      <dgm:forEach name="sibTransForEach" axis="followSib" ptType="sibTrans" cnt="1">
        <dgm:layoutNode name="sibTransComposite" styleLbl="alignAccFollowNode1">
          <dgm:alg type="sp"/>
          <dgm:shape xmlns:r="http://schemas.openxmlformats.org/officeDocument/2006/relationships" r:blip="">
            <dgm:adjLst/>
          </dgm:shape>
          <dgm:ruleLst/>
        </dgm:layoutNode>
        <dgm:ruleLst>
          <dgm:rule type="h" val="INF" fact="NaN" max="NaN"/>
        </dgm:ruleLst>
      </dgm:forEach>
    </dgm:forEach>
  </dgm:layoutNode>
  <dgm:extLst>
    <a:ext uri="{4F341089-5ED1-44EC-B178-C955D00A3D55}">
      <dgm1611:autoBuNodeInfoLst xmlns:dgm1611="http://schemas.microsoft.com/office/drawing/2016/11/diagram">
        <dgm1611:autoBuNodeInfo lvl="1" ptType="sibTrans">
          <dgm1611:buPr prefix="" leadZeros="0">
            <a:buAutoNum type="arabicParenBoth"/>
          </dgm1611:buPr>
        </dgm1611:autoBuNodeInfo>
      </dgm1611:autoBuNodeInfoLst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φαλίδας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DAA5C9-E8F0-419F-ADAC-3DCC2C4CDE43}" type="datetimeFigureOut">
              <a:rPr lang="el-GR" smtClean="0"/>
              <a:t>9/7/2025</a:t>
            </a:fld>
            <a:endParaRPr lang="el-GR"/>
          </a:p>
        </p:txBody>
      </p:sp>
      <p:sp>
        <p:nvSpPr>
          <p:cNvPr id="4" name="Θέση εικόνας διαφάνειας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Θέση σημειώσεων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CC4B11-306C-4547-B4F9-BD0D1518180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70645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g1136d0d7768_0_9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6525" y="1347788"/>
            <a:ext cx="6465888" cy="36385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8" name="Google Shape;28;g1136d0d7768_0_919:notes"/>
          <p:cNvSpPr txBox="1">
            <a:spLocks noGrp="1"/>
          </p:cNvSpPr>
          <p:nvPr>
            <p:ph type="body" idx="1"/>
          </p:nvPr>
        </p:nvSpPr>
        <p:spPr>
          <a:xfrm>
            <a:off x="673789" y="5186907"/>
            <a:ext cx="5390265" cy="4243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9" name="Google Shape;29;g1136d0d7768_0_919:notes"/>
          <p:cNvSpPr txBox="1">
            <a:spLocks noGrp="1"/>
          </p:cNvSpPr>
          <p:nvPr>
            <p:ph type="sldNum" idx="12"/>
          </p:nvPr>
        </p:nvSpPr>
        <p:spPr>
          <a:xfrm>
            <a:off x="3816576" y="10237218"/>
            <a:ext cx="2919789" cy="5407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algn="r">
              <a:buSzPts val="1200"/>
              <a:buFont typeface="Roboto"/>
              <a:buNone/>
            </a:pPr>
            <a:fld id="{00000000-1234-1234-1234-123412341234}" type="slidenum">
              <a:rPr lang="el-GR" sz="1200">
                <a:latin typeface="Roboto"/>
                <a:ea typeface="Roboto"/>
                <a:cs typeface="Roboto"/>
                <a:sym typeface="Roboto"/>
              </a:rPr>
              <a:pPr algn="r">
                <a:buSzPts val="1200"/>
                <a:buFont typeface="Roboto"/>
                <a:buNone/>
              </a:pPr>
              <a:t>1</a:t>
            </a:fld>
            <a:endParaRPr sz="1200"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238282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CC4B11-306C-4547-B4F9-BD0D1518180F}" type="slidenum">
              <a:rPr lang="el-GR" smtClean="0"/>
              <a:t>2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719252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Google Shape;359;p82:notes"/>
          <p:cNvSpPr txBox="1">
            <a:spLocks noGrp="1"/>
          </p:cNvSpPr>
          <p:nvPr>
            <p:ph type="body" idx="1"/>
          </p:nvPr>
        </p:nvSpPr>
        <p:spPr>
          <a:xfrm>
            <a:off x="673789" y="5186905"/>
            <a:ext cx="5390305" cy="4243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60" name="Google Shape;360;p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6525" y="1347788"/>
            <a:ext cx="6465888" cy="36385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5877644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789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>
  <p:cSld name="Title and body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g1136d0d7768_0_1549"/>
          <p:cNvSpPr txBox="1"/>
          <p:nvPr/>
        </p:nvSpPr>
        <p:spPr>
          <a:xfrm>
            <a:off x="0" y="6114520"/>
            <a:ext cx="12192000" cy="7635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Clr>
                <a:srgbClr val="000000"/>
              </a:buClr>
              <a:buSzPts val="2800"/>
              <a:buFont typeface="Arial"/>
              <a:buNone/>
            </a:pPr>
            <a:endParaRPr sz="2800" kern="0">
              <a:solidFill>
                <a:srgbClr val="01347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4" name="Google Shape;14;g1136d0d7768_0_154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5220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>
              <a:buClr>
                <a:srgbClr val="FFFFFF"/>
              </a:buClr>
            </a:pPr>
            <a:fld id="{00000000-1234-1234-1234-123412341234}" type="slidenum">
              <a:rPr lang="el-GR" kern="0">
                <a:solidFill>
                  <a:srgbClr val="FFFFFF"/>
                </a:solidFill>
              </a:rPr>
              <a:pPr>
                <a:buClr>
                  <a:srgbClr val="FFFFFF"/>
                </a:buClr>
              </a:pPr>
              <a:t>‹#›</a:t>
            </a:fld>
            <a:endParaRPr kern="0">
              <a:solidFill>
                <a:srgbClr val="FFFFFF"/>
              </a:solidFill>
            </a:endParaRPr>
          </a:p>
        </p:txBody>
      </p:sp>
      <p:pic>
        <p:nvPicPr>
          <p:cNvPr id="15" name="Google Shape;15;g1136d0d7768_0_15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8750" y="6172426"/>
            <a:ext cx="1985962" cy="615194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g1136d0d7768_0_1549"/>
          <p:cNvSpPr/>
          <p:nvPr/>
        </p:nvSpPr>
        <p:spPr>
          <a:xfrm>
            <a:off x="363013" y="225465"/>
            <a:ext cx="5473800" cy="915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Calibri"/>
              <a:buNone/>
            </a:pPr>
            <a:endParaRPr sz="16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Google Shape;17;g1136d0d7768_0_1549"/>
          <p:cNvSpPr txBox="1">
            <a:spLocks noGrp="1"/>
          </p:cNvSpPr>
          <p:nvPr>
            <p:ph type="title"/>
          </p:nvPr>
        </p:nvSpPr>
        <p:spPr>
          <a:xfrm>
            <a:off x="326269" y="398075"/>
            <a:ext cx="11492342" cy="705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2200">
                <a:solidFill>
                  <a:srgbClr val="01347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621198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>
  <p:cSld name="Title and body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g1136d0d7768_0_1549"/>
          <p:cNvSpPr txBox="1"/>
          <p:nvPr/>
        </p:nvSpPr>
        <p:spPr>
          <a:xfrm>
            <a:off x="0" y="6114520"/>
            <a:ext cx="12192000" cy="7635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Clr>
                <a:srgbClr val="000000"/>
              </a:buClr>
              <a:buSzPts val="2800"/>
              <a:buFont typeface="Arial"/>
              <a:buNone/>
            </a:pPr>
            <a:endParaRPr sz="2800" kern="0">
              <a:solidFill>
                <a:srgbClr val="01347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4" name="Google Shape;14;g1136d0d7768_0_154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5220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>
              <a:buClr>
                <a:srgbClr val="FFFFFF"/>
              </a:buClr>
            </a:pPr>
            <a:fld id="{00000000-1234-1234-1234-123412341234}" type="slidenum">
              <a:rPr lang="el-GR" kern="0">
                <a:solidFill>
                  <a:srgbClr val="FFFFFF"/>
                </a:solidFill>
              </a:rPr>
              <a:pPr>
                <a:buClr>
                  <a:srgbClr val="FFFFFF"/>
                </a:buClr>
              </a:pPr>
              <a:t>‹#›</a:t>
            </a:fld>
            <a:endParaRPr kern="0">
              <a:solidFill>
                <a:srgbClr val="FFFFFF"/>
              </a:solidFill>
            </a:endParaRPr>
          </a:p>
        </p:txBody>
      </p:sp>
      <p:pic>
        <p:nvPicPr>
          <p:cNvPr id="15" name="Google Shape;15;g1136d0d7768_0_15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8750" y="6172426"/>
            <a:ext cx="1985962" cy="615194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g1136d0d7768_0_1549"/>
          <p:cNvSpPr/>
          <p:nvPr/>
        </p:nvSpPr>
        <p:spPr>
          <a:xfrm>
            <a:off x="363013" y="225465"/>
            <a:ext cx="5473800" cy="915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600"/>
              <a:buFont typeface="Calibri"/>
              <a:buNone/>
            </a:pPr>
            <a:endParaRPr sz="1600" kern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Google Shape;17;g1136d0d7768_0_1549"/>
          <p:cNvSpPr txBox="1">
            <a:spLocks noGrp="1"/>
          </p:cNvSpPr>
          <p:nvPr>
            <p:ph type="title"/>
          </p:nvPr>
        </p:nvSpPr>
        <p:spPr>
          <a:xfrm>
            <a:off x="326269" y="398075"/>
            <a:ext cx="11492342" cy="705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2200">
                <a:solidFill>
                  <a:srgbClr val="01347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035246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7E8AB26-5C74-A97B-E522-C031B1776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g1136d0d7768_0_153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73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3200" b="0" i="0" u="none" strike="noStrike" cap="none">
                <a:solidFill>
                  <a:srgbClr val="25335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5529032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7E8AB26-5C74-A97B-E522-C031B1776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g1136d0d7768_0_153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73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3200" b="0" i="0" u="none" strike="noStrike" cap="none">
                <a:solidFill>
                  <a:srgbClr val="25335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4207195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8" r:id="rId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2.jpeg"/><Relationship Id="rId4" Type="http://schemas.openxmlformats.org/officeDocument/2006/relationships/image" Target="../media/image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4.jpg"/><Relationship Id="rId5" Type="http://schemas.openxmlformats.org/officeDocument/2006/relationships/image" Target="../media/image13.png"/><Relationship Id="rId4" Type="http://schemas.openxmlformats.org/officeDocument/2006/relationships/image" Target="../media/image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5.png"/><Relationship Id="rId4" Type="http://schemas.openxmlformats.org/officeDocument/2006/relationships/image" Target="../media/image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18.jpg"/><Relationship Id="rId5" Type="http://schemas.openxmlformats.org/officeDocument/2006/relationships/image" Target="../media/image17.png"/><Relationship Id="rId4" Type="http://schemas.openxmlformats.org/officeDocument/2006/relationships/image" Target="../media/image3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3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26.jpg"/><Relationship Id="rId5" Type="http://schemas.openxmlformats.org/officeDocument/2006/relationships/image" Target="../media/image25.jpg"/><Relationship Id="rId4" Type="http://schemas.openxmlformats.org/officeDocument/2006/relationships/image" Target="../media/image3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28.jpg"/><Relationship Id="rId5" Type="http://schemas.openxmlformats.org/officeDocument/2006/relationships/image" Target="../media/image27.jpg"/><Relationship Id="rId4" Type="http://schemas.openxmlformats.org/officeDocument/2006/relationships/image" Target="../media/image3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2.xml"/><Relationship Id="rId7" Type="http://schemas.openxmlformats.org/officeDocument/2006/relationships/diagramLayout" Target="../diagrams/layout1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diagramData" Target="../diagrams/data1.xml"/><Relationship Id="rId11" Type="http://schemas.openxmlformats.org/officeDocument/2006/relationships/image" Target="../media/image6.png"/><Relationship Id="rId5" Type="http://schemas.openxmlformats.org/officeDocument/2006/relationships/image" Target="../media/image3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3.bin"/><Relationship Id="rId9" Type="http://schemas.openxmlformats.org/officeDocument/2006/relationships/diagramColors" Target="../diagrams/colors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30.png"/><Relationship Id="rId5" Type="http://schemas.openxmlformats.org/officeDocument/2006/relationships/image" Target="../media/image31.png"/><Relationship Id="rId4" Type="http://schemas.openxmlformats.org/officeDocument/2006/relationships/image" Target="../media/image3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39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.e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3" Type="http://schemas.openxmlformats.org/officeDocument/2006/relationships/diagramLayout" Target="../diagrams/layout8.xml"/><Relationship Id="rId7" Type="http://schemas.openxmlformats.org/officeDocument/2006/relationships/diagramData" Target="../diagrams/data9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11" Type="http://schemas.microsoft.com/office/2007/relationships/diagramDrawing" Target="../diagrams/drawing9.xml"/><Relationship Id="rId5" Type="http://schemas.openxmlformats.org/officeDocument/2006/relationships/diagramColors" Target="../diagrams/colors8.xml"/><Relationship Id="rId10" Type="http://schemas.openxmlformats.org/officeDocument/2006/relationships/diagramColors" Target="../diagrams/colors9.xml"/><Relationship Id="rId4" Type="http://schemas.openxmlformats.org/officeDocument/2006/relationships/diagramQuickStyle" Target="../diagrams/quickStyle8.xml"/><Relationship Id="rId9" Type="http://schemas.openxmlformats.org/officeDocument/2006/relationships/diagramQuickStyle" Target="../diagrams/quickStyle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0.xml"/><Relationship Id="rId3" Type="http://schemas.openxmlformats.org/officeDocument/2006/relationships/oleObject" Target="../embeddings/oleObject23.bin"/><Relationship Id="rId7" Type="http://schemas.openxmlformats.org/officeDocument/2006/relationships/diagramQuickStyle" Target="../diagrams/quickStyl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6" Type="http://schemas.openxmlformats.org/officeDocument/2006/relationships/diagramLayout" Target="../diagrams/layout10.xml"/><Relationship Id="rId5" Type="http://schemas.openxmlformats.org/officeDocument/2006/relationships/diagramData" Target="../diagrams/data10.xml"/><Relationship Id="rId4" Type="http://schemas.openxmlformats.org/officeDocument/2006/relationships/image" Target="../media/image3.emf"/><Relationship Id="rId9" Type="http://schemas.microsoft.com/office/2007/relationships/diagramDrawing" Target="../diagrams/drawing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4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3.emf"/><Relationship Id="rId9" Type="http://schemas.microsoft.com/office/2007/relationships/diagramDrawing" Target="../diagrams/drawing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13" Type="http://schemas.openxmlformats.org/officeDocument/2006/relationships/diagramColors" Target="../diagrams/colors4.xml"/><Relationship Id="rId18" Type="http://schemas.openxmlformats.org/officeDocument/2006/relationships/diagramColors" Target="../diagrams/colors5.xml"/><Relationship Id="rId3" Type="http://schemas.openxmlformats.org/officeDocument/2006/relationships/oleObject" Target="../embeddings/oleObject5.bin"/><Relationship Id="rId7" Type="http://schemas.openxmlformats.org/officeDocument/2006/relationships/diagramQuickStyle" Target="../diagrams/quickStyle3.xml"/><Relationship Id="rId12" Type="http://schemas.openxmlformats.org/officeDocument/2006/relationships/diagramQuickStyle" Target="../diagrams/quickStyle4.xml"/><Relationship Id="rId17" Type="http://schemas.openxmlformats.org/officeDocument/2006/relationships/diagramQuickStyle" Target="../diagrams/quickStyle5.xml"/><Relationship Id="rId2" Type="http://schemas.openxmlformats.org/officeDocument/2006/relationships/slideLayout" Target="../slideLayouts/slideLayout2.xml"/><Relationship Id="rId16" Type="http://schemas.openxmlformats.org/officeDocument/2006/relationships/diagramLayout" Target="../diagrams/layout5.xml"/><Relationship Id="rId1" Type="http://schemas.openxmlformats.org/officeDocument/2006/relationships/tags" Target="../tags/tag6.xml"/><Relationship Id="rId6" Type="http://schemas.openxmlformats.org/officeDocument/2006/relationships/diagramLayout" Target="../diagrams/layout3.xml"/><Relationship Id="rId11" Type="http://schemas.openxmlformats.org/officeDocument/2006/relationships/diagramLayout" Target="../diagrams/layout4.xml"/><Relationship Id="rId5" Type="http://schemas.openxmlformats.org/officeDocument/2006/relationships/diagramData" Target="../diagrams/data3.xml"/><Relationship Id="rId15" Type="http://schemas.openxmlformats.org/officeDocument/2006/relationships/diagramData" Target="../diagrams/data5.xml"/><Relationship Id="rId10" Type="http://schemas.openxmlformats.org/officeDocument/2006/relationships/diagramData" Target="../diagrams/data4.xml"/><Relationship Id="rId19" Type="http://schemas.microsoft.com/office/2007/relationships/diagramDrawing" Target="../diagrams/drawing5.xml"/><Relationship Id="rId4" Type="http://schemas.openxmlformats.org/officeDocument/2006/relationships/image" Target="../media/image3.emf"/><Relationship Id="rId9" Type="http://schemas.microsoft.com/office/2007/relationships/diagramDrawing" Target="../diagrams/drawing3.xml"/><Relationship Id="rId14" Type="http://schemas.microsoft.com/office/2007/relationships/diagramDrawing" Target="../diagrams/drawing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6.xml"/><Relationship Id="rId13" Type="http://schemas.openxmlformats.org/officeDocument/2006/relationships/diagramColors" Target="../diagrams/colors7.xml"/><Relationship Id="rId3" Type="http://schemas.openxmlformats.org/officeDocument/2006/relationships/oleObject" Target="../embeddings/oleObject6.bin"/><Relationship Id="rId7" Type="http://schemas.openxmlformats.org/officeDocument/2006/relationships/diagramQuickStyle" Target="../diagrams/quickStyle6.xml"/><Relationship Id="rId12" Type="http://schemas.openxmlformats.org/officeDocument/2006/relationships/diagramQuickStyle" Target="../diagrams/quickStyl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diagramLayout" Target="../diagrams/layout6.xml"/><Relationship Id="rId11" Type="http://schemas.openxmlformats.org/officeDocument/2006/relationships/diagramLayout" Target="../diagrams/layout7.xml"/><Relationship Id="rId5" Type="http://schemas.openxmlformats.org/officeDocument/2006/relationships/diagramData" Target="../diagrams/data6.xml"/><Relationship Id="rId10" Type="http://schemas.openxmlformats.org/officeDocument/2006/relationships/diagramData" Target="../diagrams/data7.xml"/><Relationship Id="rId4" Type="http://schemas.openxmlformats.org/officeDocument/2006/relationships/image" Target="../media/image3.emf"/><Relationship Id="rId9" Type="http://schemas.microsoft.com/office/2007/relationships/diagramDrawing" Target="../diagrams/drawing6.xml"/><Relationship Id="rId14" Type="http://schemas.microsoft.com/office/2007/relationships/diagramDrawing" Target="../diagrams/drawing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8.jpeg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192B79F-BADD-3016-A425-3B881CD3A7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7810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1" name="Google Shape;31;g1136d0d7768_0_919"/>
          <p:cNvGrpSpPr/>
          <p:nvPr/>
        </p:nvGrpSpPr>
        <p:grpSpPr>
          <a:xfrm>
            <a:off x="0" y="0"/>
            <a:ext cx="12192000" cy="6858001"/>
            <a:chOff x="0" y="0"/>
            <a:chExt cx="12192000" cy="6858001"/>
          </a:xfrm>
        </p:grpSpPr>
        <p:pic>
          <p:nvPicPr>
            <p:cNvPr id="32" name="Google Shape;32;g1136d0d7768_0_919" descr="A close up of a logo&#10;&#10;Description automatically generated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0" y="0"/>
              <a:ext cx="12192000" cy="6858001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3" name="Google Shape;33;g1136d0d7768_0_919"/>
            <p:cNvSpPr/>
            <p:nvPr/>
          </p:nvSpPr>
          <p:spPr>
            <a:xfrm>
              <a:off x="1516987" y="1050290"/>
              <a:ext cx="4741800" cy="30240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5" tIns="15850" rIns="111175" bIns="15850" anchor="ctr" anchorCtr="0">
              <a:noAutofit/>
            </a:bodyPr>
            <a:lstStyle/>
            <a:p>
              <a:pPr>
                <a:buClr>
                  <a:srgbClr val="000000"/>
                </a:buClr>
                <a:buSzPts val="2000"/>
                <a:buFont typeface="Arial"/>
                <a:buNone/>
              </a:pPr>
              <a:r>
                <a:rPr lang="el-GR" sz="2000" kern="0" dirty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Υπουργείο Υγείας</a:t>
              </a:r>
              <a:endParaRPr sz="2000" kern="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" name="Google Shape;34;g1136d0d7768_0_919"/>
          <p:cNvSpPr txBox="1"/>
          <p:nvPr/>
        </p:nvSpPr>
        <p:spPr>
          <a:xfrm>
            <a:off x="741921" y="1764210"/>
            <a:ext cx="8171170" cy="38685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 algn="ctr">
              <a:buSzPts val="3600"/>
            </a:pPr>
            <a:endParaRPr lang="el-GR" sz="2800" b="1" dirty="0">
              <a:solidFill>
                <a:schemeClr val="accent2">
                  <a:lumMod val="60000"/>
                  <a:lumOff val="40000"/>
                </a:schemeClr>
              </a:solidFill>
              <a:latin typeface="Calibri" panose="020F0502020204030204" pitchFamily="34" charset="0"/>
              <a:ea typeface="Roboto"/>
              <a:cs typeface="Calibri" panose="020F0502020204030204" pitchFamily="34" charset="0"/>
              <a:sym typeface="Roboto"/>
            </a:endParaRPr>
          </a:p>
          <a:p>
            <a:pPr lvl="0" algn="ctr">
              <a:buSzPts val="3600"/>
            </a:pPr>
            <a:endParaRPr lang="el-GR" sz="2800" b="1" dirty="0">
              <a:solidFill>
                <a:schemeClr val="accent2">
                  <a:lumMod val="60000"/>
                  <a:lumOff val="40000"/>
                </a:schemeClr>
              </a:solidFill>
              <a:latin typeface="Calibri" panose="020F0502020204030204" pitchFamily="34" charset="0"/>
              <a:ea typeface="Roboto"/>
              <a:cs typeface="Calibri" panose="020F0502020204030204" pitchFamily="34" charset="0"/>
              <a:sym typeface="Roboto"/>
            </a:endParaRPr>
          </a:p>
          <a:p>
            <a:pPr lvl="0" algn="ctr">
              <a:buSzPts val="3600"/>
            </a:pPr>
            <a:endParaRPr lang="el-GR" sz="2800" b="1" dirty="0">
              <a:solidFill>
                <a:schemeClr val="accent2">
                  <a:lumMod val="60000"/>
                  <a:lumOff val="40000"/>
                </a:schemeClr>
              </a:solidFill>
              <a:latin typeface="Calibri" panose="020F0502020204030204" pitchFamily="34" charset="0"/>
              <a:ea typeface="Roboto"/>
              <a:cs typeface="Calibri" panose="020F0502020204030204" pitchFamily="34" charset="0"/>
              <a:sym typeface="Roboto"/>
            </a:endParaRPr>
          </a:p>
          <a:p>
            <a:pPr lvl="0" algn="ctr">
              <a:buSzPts val="3600"/>
            </a:pPr>
            <a:r>
              <a:rPr lang="el-GR" sz="2800" b="1" dirty="0">
                <a:solidFill>
                  <a:schemeClr val="bg1"/>
                </a:solidFill>
                <a:latin typeface="Calibri" panose="020F0502020204030204" pitchFamily="34" charset="0"/>
                <a:ea typeface="Roboto"/>
                <a:cs typeface="Calibri" panose="020F0502020204030204" pitchFamily="34" charset="0"/>
                <a:sym typeface="Roboto"/>
              </a:rPr>
              <a:t>Ψηφιακό Εργαλείο Αξιολόγησης </a:t>
            </a:r>
          </a:p>
          <a:p>
            <a:pPr lvl="0" algn="ctr">
              <a:buSzPts val="3600"/>
            </a:pPr>
            <a:r>
              <a:rPr lang="el-GR" sz="2800" b="1" dirty="0">
                <a:solidFill>
                  <a:schemeClr val="bg1"/>
                </a:solidFill>
                <a:latin typeface="Calibri" panose="020F0502020204030204" pitchFamily="34" charset="0"/>
                <a:ea typeface="Roboto"/>
                <a:cs typeface="Calibri" panose="020F0502020204030204" pitchFamily="34" charset="0"/>
                <a:sym typeface="Roboto"/>
              </a:rPr>
              <a:t>της Εμπειρίας του Ασθενή </a:t>
            </a:r>
          </a:p>
          <a:p>
            <a:pPr lvl="0" algn="ctr">
              <a:buSzPts val="3600"/>
            </a:pPr>
            <a:r>
              <a:rPr lang="el-GR" sz="2800" b="1" dirty="0">
                <a:solidFill>
                  <a:schemeClr val="bg1"/>
                </a:solidFill>
                <a:latin typeface="Calibri" panose="020F0502020204030204" pitchFamily="34" charset="0"/>
                <a:ea typeface="Roboto"/>
                <a:cs typeface="Calibri" panose="020F0502020204030204" pitchFamily="34" charset="0"/>
                <a:sym typeface="Roboto"/>
              </a:rPr>
              <a:t>στα Νοσοκομεία του Ε.Σ.Υ. </a:t>
            </a:r>
          </a:p>
          <a:p>
            <a:pPr lvl="0" algn="ctr">
              <a:buSzPts val="3600"/>
            </a:pPr>
            <a:endParaRPr lang="el-GR" sz="2800" b="1" dirty="0">
              <a:solidFill>
                <a:schemeClr val="bg1"/>
              </a:solidFill>
              <a:latin typeface="Calibri" panose="020F0502020204030204" pitchFamily="34" charset="0"/>
              <a:ea typeface="Roboto"/>
              <a:cs typeface="Calibri" panose="020F0502020204030204" pitchFamily="34" charset="0"/>
              <a:sym typeface="Roboto"/>
            </a:endParaRPr>
          </a:p>
        </p:txBody>
      </p:sp>
      <p:sp>
        <p:nvSpPr>
          <p:cNvPr id="36" name="Google Shape;36;g1136d0d7768_0_919"/>
          <p:cNvSpPr/>
          <p:nvPr/>
        </p:nvSpPr>
        <p:spPr>
          <a:xfrm>
            <a:off x="1516986" y="730905"/>
            <a:ext cx="4741800" cy="302400"/>
          </a:xfrm>
          <a:prstGeom prst="snip2DiagRect">
            <a:avLst>
              <a:gd name="adj1" fmla="val 0"/>
              <a:gd name="adj2" fmla="val 16667"/>
            </a:avLst>
          </a:prstGeom>
          <a:solidFill>
            <a:srgbClr val="013476"/>
          </a:solidFill>
          <a:ln>
            <a:noFill/>
          </a:ln>
        </p:spPr>
        <p:txBody>
          <a:bodyPr spcFirstLastPara="1" wrap="square" lIns="111175" tIns="15850" rIns="111175" bIns="15850" anchor="ctr" anchorCtr="0">
            <a:noAutofit/>
          </a:bodyPr>
          <a:lstStyle/>
          <a:p>
            <a:pPr>
              <a:buClr>
                <a:srgbClr val="FFFFFF"/>
              </a:buClr>
              <a:buSzPts val="2000"/>
              <a:buFont typeface="Calibri"/>
              <a:buNone/>
            </a:pPr>
            <a:r>
              <a:rPr lang="el-GR" sz="2000" b="1" kern="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ΕΛΛΗΝΙΚΗ ΔΗΜΟΚΡΑΤΙΑ</a:t>
            </a:r>
            <a:endParaRPr sz="14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B82F55E-B08A-3321-38CA-99C05627F3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2045" y="451565"/>
            <a:ext cx="5229955" cy="1143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8650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588FF17-6122-DE12-A1F5-B00CC5673B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6444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10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id="{228C515D-D394-C0E0-B232-08B6ACE0CE2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15" r="7715" b="31120"/>
          <a:stretch/>
        </p:blipFill>
        <p:spPr>
          <a:xfrm>
            <a:off x="1471284" y="1194024"/>
            <a:ext cx="9404604" cy="4469952"/>
          </a:xfrm>
          <a:prstGeom prst="rect">
            <a:avLst/>
          </a:prstGeom>
        </p:spPr>
      </p:pic>
      <p:sp>
        <p:nvSpPr>
          <p:cNvPr id="11" name="Τίτλος 2">
            <a:extLst>
              <a:ext uri="{FF2B5EF4-FFF2-40B4-BE49-F238E27FC236}">
                <a16:creationId xmlns:a16="http://schemas.microsoft.com/office/drawing/2014/main" id="{61B98AD2-4781-D42A-CDA7-8B879CA3245F}"/>
              </a:ext>
            </a:extLst>
          </p:cNvPr>
          <p:cNvSpPr txBox="1">
            <a:spLocks/>
          </p:cNvSpPr>
          <p:nvPr/>
        </p:nvSpPr>
        <p:spPr>
          <a:xfrm>
            <a:off x="326269" y="542193"/>
            <a:ext cx="11492342" cy="4026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l-GR" sz="2000" u="sng" baseline="30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ς</a:t>
            </a:r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Άξονας</a:t>
            </a:r>
            <a:r>
              <a:rPr lang="el-GR" sz="2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ροσβασιμότητα</a:t>
            </a:r>
            <a:endParaRPr lang="el-GR" sz="2000" b="1" kern="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2605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51CC063-E49A-2436-5DF1-4B19F1F148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926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11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5" name="Θέση περιεχομένου 4" descr="Εικόνα που περιέχει κείμενο, στιγμιότυπο οθόνης, γραμματοσειρά, λειτουργικό σύστημα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7BA28CDC-ECA3-3B37-A0C8-C553D77A691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0303" t="1" r="23180" b="34129"/>
          <a:stretch/>
        </p:blipFill>
        <p:spPr>
          <a:xfrm>
            <a:off x="212436" y="1390717"/>
            <a:ext cx="5929745" cy="3874011"/>
          </a:xfrm>
          <a:prstGeom prst="rect">
            <a:avLst/>
          </a:prstGeom>
        </p:spPr>
      </p:pic>
      <p:pic>
        <p:nvPicPr>
          <p:cNvPr id="4" name="Εικόνα 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18" r="26591" b="42836"/>
          <a:stretch/>
        </p:blipFill>
        <p:spPr>
          <a:xfrm>
            <a:off x="5642527" y="1390716"/>
            <a:ext cx="6267369" cy="3874011"/>
          </a:xfrm>
          <a:prstGeom prst="rect">
            <a:avLst/>
          </a:prstGeom>
        </p:spPr>
      </p:pic>
      <p:sp>
        <p:nvSpPr>
          <p:cNvPr id="11" name="Τίτλος 2">
            <a:extLst>
              <a:ext uri="{FF2B5EF4-FFF2-40B4-BE49-F238E27FC236}">
                <a16:creationId xmlns:a16="http://schemas.microsoft.com/office/drawing/2014/main" id="{7B45CA27-BD45-442F-6BA9-298869055A1F}"/>
              </a:ext>
            </a:extLst>
          </p:cNvPr>
          <p:cNvSpPr txBox="1">
            <a:spLocks/>
          </p:cNvSpPr>
          <p:nvPr/>
        </p:nvSpPr>
        <p:spPr>
          <a:xfrm>
            <a:off x="326269" y="542193"/>
            <a:ext cx="11492342" cy="4026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l-GR" sz="2000" u="sng" baseline="30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ς</a:t>
            </a:r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Άξονας</a:t>
            </a:r>
            <a:r>
              <a:rPr lang="el-GR" sz="2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ροσβασιμότητα</a:t>
            </a:r>
            <a:endParaRPr lang="el-GR" sz="2000" b="1" kern="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55494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DFDC82D-B391-0418-E43F-F83F09E0AF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002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12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4" name="Θέση περιεχομένου 4" descr="Εικόνα που περιέχει κείμενο, στιγμιότυπο οθόνης, λειτουργικό σύστημα, λογισμικό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D96D864A-0500-B63F-3554-8C37C7EB438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3672" t="-1" r="21665" b="28844"/>
          <a:stretch/>
        </p:blipFill>
        <p:spPr>
          <a:xfrm>
            <a:off x="2909455" y="997528"/>
            <a:ext cx="6594764" cy="4969163"/>
          </a:xfrm>
          <a:prstGeom prst="rect">
            <a:avLst/>
          </a:prstGeom>
        </p:spPr>
      </p:pic>
      <p:sp>
        <p:nvSpPr>
          <p:cNvPr id="10" name="Τίτλος 2">
            <a:extLst>
              <a:ext uri="{FF2B5EF4-FFF2-40B4-BE49-F238E27FC236}">
                <a16:creationId xmlns:a16="http://schemas.microsoft.com/office/drawing/2014/main" id="{A84FF301-965B-6056-A414-F63BAF8C45F4}"/>
              </a:ext>
            </a:extLst>
          </p:cNvPr>
          <p:cNvSpPr txBox="1">
            <a:spLocks/>
          </p:cNvSpPr>
          <p:nvPr/>
        </p:nvSpPr>
        <p:spPr>
          <a:xfrm>
            <a:off x="326269" y="542193"/>
            <a:ext cx="11492342" cy="4026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l-GR" sz="2000" u="sng" baseline="30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ς</a:t>
            </a:r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Άξονας</a:t>
            </a:r>
            <a:r>
              <a:rPr lang="el-GR" sz="2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ροσβασιμότητα</a:t>
            </a:r>
            <a:endParaRPr lang="el-GR" sz="2000" b="1" kern="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49551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12891E4-A44B-3946-A8F2-B27E231F1E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9725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13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02DDB14-AA74-CBE0-74FD-E6AD4A003508}"/>
              </a:ext>
            </a:extLst>
          </p:cNvPr>
          <p:cNvGrpSpPr/>
          <p:nvPr/>
        </p:nvGrpSpPr>
        <p:grpSpPr>
          <a:xfrm>
            <a:off x="2909455" y="997528"/>
            <a:ext cx="6594764" cy="4969163"/>
            <a:chOff x="2909455" y="997528"/>
            <a:chExt cx="6594764" cy="4969163"/>
          </a:xfrm>
        </p:grpSpPr>
        <p:pic>
          <p:nvPicPr>
            <p:cNvPr id="14" name="Θέση περιεχομένου 4" descr="Εικόνα που περιέχει κείμενο, στιγμιότυπο οθόνης, λειτουργικό σύστημα, λογισμικό&#10;&#10;Το περιεχόμενο που δημιουργείται από AI ενδέχεται να είναι εσφαλμένο.">
              <a:extLst>
                <a:ext uri="{FF2B5EF4-FFF2-40B4-BE49-F238E27FC236}">
                  <a16:creationId xmlns:a16="http://schemas.microsoft.com/office/drawing/2014/main" id="{FA0B8B07-9431-1DE8-4FFA-D42CD47908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3672" t="-1" r="21665" b="28844"/>
            <a:stretch/>
          </p:blipFill>
          <p:spPr>
            <a:xfrm>
              <a:off x="2909455" y="997528"/>
              <a:ext cx="6594764" cy="4969163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72B0D6D-090E-F2FF-197E-947B8BA5E4F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279068" y="2114630"/>
              <a:ext cx="5858144" cy="3574970"/>
            </a:xfrm>
            <a:prstGeom prst="rect">
              <a:avLst/>
            </a:prstGeom>
          </p:spPr>
        </p:pic>
      </p:grpSp>
      <p:sp>
        <p:nvSpPr>
          <p:cNvPr id="19" name="Τίτλος 2">
            <a:extLst>
              <a:ext uri="{FF2B5EF4-FFF2-40B4-BE49-F238E27FC236}">
                <a16:creationId xmlns:a16="http://schemas.microsoft.com/office/drawing/2014/main" id="{66146306-EC7A-69E8-AF1E-D86F2CDF77F2}"/>
              </a:ext>
            </a:extLst>
          </p:cNvPr>
          <p:cNvSpPr txBox="1">
            <a:spLocks/>
          </p:cNvSpPr>
          <p:nvPr/>
        </p:nvSpPr>
        <p:spPr>
          <a:xfrm>
            <a:off x="326269" y="542193"/>
            <a:ext cx="11492342" cy="4026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l-GR" sz="2000" u="sng" baseline="30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ς</a:t>
            </a:r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Άξονας</a:t>
            </a:r>
            <a:r>
              <a:rPr lang="el-GR" sz="2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ροσβασιμότητα</a:t>
            </a:r>
            <a:endParaRPr lang="el-GR" sz="2000" b="1" kern="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13614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FC6C7E0-B32C-B15D-63C0-F304D6324C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624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14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4" name="Θέση περιεχομένου 4" descr="Εικόνα που περιέχει κείμενο, στιγμιότυπο οθόνης, λειτουργικό σύστημα, λογισμικό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EED91BEB-9FB9-68B5-B912-83F7EA3AE0E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803" r="24067" b="33793"/>
          <a:stretch/>
        </p:blipFill>
        <p:spPr>
          <a:xfrm>
            <a:off x="156385" y="1655393"/>
            <a:ext cx="5828777" cy="4054721"/>
          </a:xfrm>
          <a:prstGeom prst="rect">
            <a:avLst/>
          </a:prstGeom>
        </p:spPr>
      </p:pic>
      <p:pic>
        <p:nvPicPr>
          <p:cNvPr id="6" name="Εικόνα 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29" t="-1" r="26571" b="41122"/>
          <a:stretch/>
        </p:blipFill>
        <p:spPr>
          <a:xfrm>
            <a:off x="5587224" y="1655393"/>
            <a:ext cx="6301246" cy="4054721"/>
          </a:xfrm>
          <a:prstGeom prst="rect">
            <a:avLst/>
          </a:prstGeom>
        </p:spPr>
      </p:pic>
      <p:sp>
        <p:nvSpPr>
          <p:cNvPr id="11" name="Τίτλος 2">
            <a:extLst>
              <a:ext uri="{FF2B5EF4-FFF2-40B4-BE49-F238E27FC236}">
                <a16:creationId xmlns:a16="http://schemas.microsoft.com/office/drawing/2014/main" id="{C1D0FE60-A6EB-9790-2291-FAF48C425BD3}"/>
              </a:ext>
            </a:extLst>
          </p:cNvPr>
          <p:cNvSpPr txBox="1">
            <a:spLocks/>
          </p:cNvSpPr>
          <p:nvPr/>
        </p:nvSpPr>
        <p:spPr>
          <a:xfrm>
            <a:off x="326269" y="542193"/>
            <a:ext cx="11492342" cy="4026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l-GR" sz="2000" u="sng" baseline="30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ς</a:t>
            </a:r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Άξονας</a:t>
            </a:r>
            <a:r>
              <a:rPr lang="el-GR" sz="2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ροσβασιμότητα</a:t>
            </a:r>
            <a:endParaRPr lang="el-GR" sz="2000" b="1" kern="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F309196-30E8-E3D6-4526-8F0A84F0DE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6901" y="1655393"/>
            <a:ext cx="4820323" cy="9335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CCEB5FC-1C41-69E0-BA5E-68AF849604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04776" y="1655393"/>
            <a:ext cx="4820323" cy="933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4935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71DAEA4-CAC9-EAB2-ADE4-D0F241C161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2204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15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4" name="Θέση περιεχομένου 4" descr="Εικόνα που περιέχει κείμενο, στιγμιότυπο οθόνης, λειτουργικό σύστημα, λογισμικό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7FF703B6-F19D-761B-0512-0F1A062368B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3655" r="22844" b="36530"/>
          <a:stretch/>
        </p:blipFill>
        <p:spPr>
          <a:xfrm>
            <a:off x="112806" y="1825848"/>
            <a:ext cx="4132636" cy="2819572"/>
          </a:xfrm>
          <a:prstGeom prst="rect">
            <a:avLst/>
          </a:prstGeom>
        </p:spPr>
      </p:pic>
      <p:pic>
        <p:nvPicPr>
          <p:cNvPr id="5" name="Θέση περιεχομένου 4" descr="Εικόνα που περιέχει κείμενο, στιγμιότυπο οθόνης, γραμματοσειρά, λειτουργικό σύστημα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5CEFAEEF-D92C-DC75-C384-959331F48CC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3409" r="23939" b="35084"/>
          <a:stretch/>
        </p:blipFill>
        <p:spPr>
          <a:xfrm>
            <a:off x="4245442" y="1825833"/>
            <a:ext cx="3993394" cy="2819588"/>
          </a:xfrm>
          <a:prstGeom prst="rect">
            <a:avLst/>
          </a:prstGeom>
        </p:spPr>
      </p:pic>
      <p:pic>
        <p:nvPicPr>
          <p:cNvPr id="6" name="Θέση περιεχομένου 4" descr="Εικόνα που περιέχει κείμενο, στιγμιότυπο οθόνης, λειτουργικό σύστημα, γραμματοσειρά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191230D6-529C-50DA-F612-0ABC7FEAB44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2197" r="23712" b="35277"/>
          <a:stretch/>
        </p:blipFill>
        <p:spPr>
          <a:xfrm>
            <a:off x="7957440" y="1825833"/>
            <a:ext cx="4180236" cy="2819587"/>
          </a:xfrm>
          <a:prstGeom prst="rect">
            <a:avLst/>
          </a:prstGeom>
        </p:spPr>
      </p:pic>
      <p:sp>
        <p:nvSpPr>
          <p:cNvPr id="9" name="Τίτλος 2">
            <a:extLst>
              <a:ext uri="{FF2B5EF4-FFF2-40B4-BE49-F238E27FC236}">
                <a16:creationId xmlns:a16="http://schemas.microsoft.com/office/drawing/2014/main" id="{7237B20B-D665-95C1-81AC-716445A3CF76}"/>
              </a:ext>
            </a:extLst>
          </p:cNvPr>
          <p:cNvSpPr txBox="1">
            <a:spLocks/>
          </p:cNvSpPr>
          <p:nvPr/>
        </p:nvSpPr>
        <p:spPr>
          <a:xfrm>
            <a:off x="326269" y="542193"/>
            <a:ext cx="11492342" cy="4026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l-GR" sz="2000" u="sng" baseline="30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ς</a:t>
            </a:r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Άξονας</a:t>
            </a:r>
            <a:r>
              <a:rPr lang="el-GR" sz="2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ροσβασιμότητα</a:t>
            </a:r>
            <a:endParaRPr lang="el-GR" sz="2000" b="1" kern="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35998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1FAE721-726F-279B-B3B6-528CE3E1D8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664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16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4" name="Θέση περιεχομένου 4" descr="Εικόνα που περιέχει κείμενο, στιγμιότυπο οθόνης, λειτουργικό σύστημα, λογισμικό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2A6BDD13-C45A-B323-5411-21405912D00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288" r="22121" b="32327"/>
          <a:stretch/>
        </p:blipFill>
        <p:spPr>
          <a:xfrm>
            <a:off x="5911509" y="1368354"/>
            <a:ext cx="5907102" cy="4088316"/>
          </a:xfrm>
          <a:prstGeom prst="rect">
            <a:avLst/>
          </a:prstGeom>
        </p:spPr>
      </p:pic>
      <p:pic>
        <p:nvPicPr>
          <p:cNvPr id="5" name="Θέση περιεχομένου 4" descr="Εικόνα που περιέχει κείμενο, στιγμιότυπο οθόνης, λειτουργικό σύστημα, λογισμικό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7AF14EB0-7650-EC91-D639-19379B3A04A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2424" r="23788" b="36673"/>
          <a:stretch/>
        </p:blipFill>
        <p:spPr>
          <a:xfrm>
            <a:off x="207481" y="1368354"/>
            <a:ext cx="6003504" cy="4088315"/>
          </a:xfrm>
          <a:prstGeom prst="rect">
            <a:avLst/>
          </a:prstGeom>
        </p:spPr>
      </p:pic>
      <p:sp>
        <p:nvSpPr>
          <p:cNvPr id="8" name="Τίτλος 2">
            <a:extLst>
              <a:ext uri="{FF2B5EF4-FFF2-40B4-BE49-F238E27FC236}">
                <a16:creationId xmlns:a16="http://schemas.microsoft.com/office/drawing/2014/main" id="{FE7C94C5-E22B-E641-4B2C-E0B37B57FE75}"/>
              </a:ext>
            </a:extLst>
          </p:cNvPr>
          <p:cNvSpPr txBox="1">
            <a:spLocks/>
          </p:cNvSpPr>
          <p:nvPr/>
        </p:nvSpPr>
        <p:spPr>
          <a:xfrm>
            <a:off x="326269" y="542193"/>
            <a:ext cx="11492342" cy="4026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l-GR" sz="2000" u="sng" baseline="30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ς</a:t>
            </a:r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Άξονας</a:t>
            </a:r>
            <a:r>
              <a:rPr lang="el-GR" sz="2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ροσβασιμότητα</a:t>
            </a:r>
            <a:endParaRPr lang="el-GR" sz="2000" b="1" kern="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8987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7A4F4FB2-9C73-8500-C6B9-C8286AEA49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8530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17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4" name="Εικόνα 3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31" t="16970" r="22803" b="562"/>
          <a:stretch/>
        </p:blipFill>
        <p:spPr>
          <a:xfrm>
            <a:off x="129309" y="1625602"/>
            <a:ext cx="6260039" cy="4202545"/>
          </a:xfrm>
          <a:prstGeom prst="rect">
            <a:avLst/>
          </a:prstGeom>
        </p:spPr>
      </p:pic>
      <p:pic>
        <p:nvPicPr>
          <p:cNvPr id="5" name="Εικόνα 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51" r="24848" b="11124"/>
          <a:stretch/>
        </p:blipFill>
        <p:spPr>
          <a:xfrm>
            <a:off x="5981134" y="1625602"/>
            <a:ext cx="5837477" cy="4221020"/>
          </a:xfrm>
          <a:prstGeom prst="rect">
            <a:avLst/>
          </a:prstGeom>
        </p:spPr>
      </p:pic>
      <p:sp>
        <p:nvSpPr>
          <p:cNvPr id="12" name="Τίτλος 2">
            <a:extLst>
              <a:ext uri="{FF2B5EF4-FFF2-40B4-BE49-F238E27FC236}">
                <a16:creationId xmlns:a16="http://schemas.microsoft.com/office/drawing/2014/main" id="{FFFEB183-F029-8D13-3099-F97F293C5461}"/>
              </a:ext>
            </a:extLst>
          </p:cNvPr>
          <p:cNvSpPr txBox="1">
            <a:spLocks/>
          </p:cNvSpPr>
          <p:nvPr/>
        </p:nvSpPr>
        <p:spPr>
          <a:xfrm>
            <a:off x="326269" y="542193"/>
            <a:ext cx="11492342" cy="4026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l-GR" sz="2000" u="sng" baseline="30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ς</a:t>
            </a:r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Άξονας</a:t>
            </a:r>
            <a:r>
              <a:rPr lang="el-GR" sz="2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Συντονισμός Φροντίδας </a:t>
            </a:r>
            <a:endParaRPr lang="el-GR" sz="2000" b="1" kern="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96035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95F1EA9-FE7D-2D67-3C09-6354E64164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568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18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4" name="Εικόνα 3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8" t="1" r="23864" b="-1302"/>
          <a:stretch/>
        </p:blipFill>
        <p:spPr>
          <a:xfrm>
            <a:off x="327890" y="1445874"/>
            <a:ext cx="6142181" cy="4609730"/>
          </a:xfrm>
          <a:prstGeom prst="rect">
            <a:avLst/>
          </a:prstGeom>
        </p:spPr>
      </p:pic>
      <p:pic>
        <p:nvPicPr>
          <p:cNvPr id="5" name="Εικόνα 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70" r="25379" b="17294"/>
          <a:stretch/>
        </p:blipFill>
        <p:spPr>
          <a:xfrm>
            <a:off x="6188363" y="1445874"/>
            <a:ext cx="5219083" cy="4609730"/>
          </a:xfrm>
          <a:prstGeom prst="rect">
            <a:avLst/>
          </a:prstGeom>
        </p:spPr>
      </p:pic>
      <p:sp>
        <p:nvSpPr>
          <p:cNvPr id="6" name="Τίτλος 2">
            <a:extLst>
              <a:ext uri="{FF2B5EF4-FFF2-40B4-BE49-F238E27FC236}">
                <a16:creationId xmlns:a16="http://schemas.microsoft.com/office/drawing/2014/main" id="{A5C9EB49-5006-3258-8117-9195E8D838E3}"/>
              </a:ext>
            </a:extLst>
          </p:cNvPr>
          <p:cNvSpPr txBox="1">
            <a:spLocks/>
          </p:cNvSpPr>
          <p:nvPr/>
        </p:nvSpPr>
        <p:spPr>
          <a:xfrm>
            <a:off x="326269" y="542193"/>
            <a:ext cx="11492342" cy="4026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el-GR" sz="2000" u="sng" baseline="30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ς</a:t>
            </a:r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Άξονας</a:t>
            </a:r>
            <a:r>
              <a:rPr lang="el-GR" sz="2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οιότητα φροντίδας &amp; Αλληλεπίδραση με το Προσωπικό</a:t>
            </a:r>
            <a:b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l-GR" sz="2000" b="1" kern="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11761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19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" name="Τίτλος 2"/>
          <p:cNvSpPr>
            <a:spLocks noGrp="1"/>
          </p:cNvSpPr>
          <p:nvPr>
            <p:ph type="title"/>
          </p:nvPr>
        </p:nvSpPr>
        <p:spPr>
          <a:xfrm>
            <a:off x="861978" y="1613608"/>
            <a:ext cx="3774676" cy="2681299"/>
          </a:xfrm>
        </p:spPr>
        <p:txBody>
          <a:bodyPr/>
          <a:lstStyle/>
          <a:p>
            <a:pPr algn="ctr"/>
            <a:br>
              <a:rPr lang="en-US" sz="2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n-US" sz="2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el-GR" sz="2000" u="sng" baseline="30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ς</a:t>
            </a:r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Άξονας</a:t>
            </a:r>
            <a:r>
              <a:rPr lang="en-US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b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l-GR" sz="2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Υποστήριξη &amp; Συμμετοχή στη Λήψη Αποφάσεων </a:t>
            </a:r>
          </a:p>
        </p:txBody>
      </p:sp>
      <p:pic>
        <p:nvPicPr>
          <p:cNvPr id="15" name="Εικόνα 5" descr="Εικόνα που περιέχει κείμενο, στιγμιότυπο οθόνης, γραμματοσειρά, λειτουργικό σύστημα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9B7D93DA-7363-4415-E8D6-982B130218F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366" r="25748" b="336"/>
          <a:stretch/>
        </p:blipFill>
        <p:spPr>
          <a:xfrm>
            <a:off x="5726257" y="225233"/>
            <a:ext cx="5465618" cy="606718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35EF706-47D0-6F73-C687-B67B2375CE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5126" y="289815"/>
            <a:ext cx="5087060" cy="885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3119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FABAC30-D16E-C1A1-97CB-B5559B2081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8314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>
          <a:xfrm>
            <a:off x="11462024" y="6222463"/>
            <a:ext cx="522000" cy="52470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2</a:t>
            </a:fld>
            <a:endParaRPr kumimoji="0" lang="el-GR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46" name="Τίτλος 2"/>
          <p:cNvSpPr txBox="1">
            <a:spLocks/>
          </p:cNvSpPr>
          <p:nvPr/>
        </p:nvSpPr>
        <p:spPr>
          <a:xfrm>
            <a:off x="668828" y="326463"/>
            <a:ext cx="8100291" cy="6653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tabLst/>
              <a:defRPr/>
            </a:pPr>
            <a:endParaRPr kumimoji="0" lang="el-GR" sz="2000" i="0" u="none" strike="noStrike" kern="0" cap="none" spc="0" normalizeH="0" baseline="0" noProof="0" dirty="0">
              <a:ln>
                <a:noFill/>
              </a:ln>
              <a:solidFill>
                <a:srgbClr val="297FD5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tabLst/>
              <a:defRPr/>
            </a:pPr>
            <a:r>
              <a:rPr kumimoji="0" lang="el-GR" sz="2000" b="1" i="0" u="none" strike="noStrike" kern="0" cap="none" spc="0" normalizeH="0" noProof="0" dirty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Το Έργο &amp; </a:t>
            </a:r>
            <a:r>
              <a:rPr lang="el-GR" sz="2000" b="1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Χρηματοδότηση</a:t>
            </a:r>
            <a:endParaRPr kumimoji="0" lang="el-GR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graphicFrame>
        <p:nvGraphicFramePr>
          <p:cNvPr id="9" name="Διάγραμμα 8"/>
          <p:cNvGraphicFramePr/>
          <p:nvPr>
            <p:extLst>
              <p:ext uri="{D42A27DB-BD31-4B8C-83A1-F6EECF244321}">
                <p14:modId xmlns:p14="http://schemas.microsoft.com/office/powerpoint/2010/main" val="145213651"/>
              </p:ext>
            </p:extLst>
          </p:nvPr>
        </p:nvGraphicFramePr>
        <p:xfrm>
          <a:off x="323045" y="1558724"/>
          <a:ext cx="8188530" cy="45368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4" name="Εικόνα 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775739" y="190283"/>
            <a:ext cx="3409641" cy="3409641"/>
          </a:xfrm>
          <a:prstGeom prst="rect">
            <a:avLst/>
          </a:prstGeom>
        </p:spPr>
      </p:pic>
      <p:pic>
        <p:nvPicPr>
          <p:cNvPr id="6" name="Εικόνα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775739" y="2733964"/>
            <a:ext cx="3416261" cy="3289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9972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31A9BA4-3FA0-90D8-289F-99D03E3E15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9570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Τίτλος 2">
            <a:extLst>
              <a:ext uri="{FF2B5EF4-FFF2-40B4-BE49-F238E27FC236}">
                <a16:creationId xmlns:a16="http://schemas.microsoft.com/office/drawing/2014/main" id="{F45D0880-704C-79C6-BBE9-5D060C280DC5}"/>
              </a:ext>
            </a:extLst>
          </p:cNvPr>
          <p:cNvSpPr txBox="1">
            <a:spLocks/>
          </p:cNvSpPr>
          <p:nvPr/>
        </p:nvSpPr>
        <p:spPr>
          <a:xfrm>
            <a:off x="861978" y="1613608"/>
            <a:ext cx="3774676" cy="26812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br>
              <a:rPr lang="en-US" sz="2400" kern="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n-US" sz="2400" kern="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l-GR" sz="2000" u="sng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el-GR" sz="2000" u="sng" kern="0" baseline="30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ς</a:t>
            </a:r>
            <a:r>
              <a:rPr lang="el-GR" sz="2000" u="sng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Άξονας</a:t>
            </a:r>
            <a:r>
              <a:rPr lang="en-US" sz="2000" u="sng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br>
              <a:rPr lang="el-GR" sz="2000" u="sng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l-GR" sz="2000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l-GR" sz="2000" b="1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Καθαριότητα, Υγιεινή &amp; Σίτιση </a:t>
            </a:r>
            <a:br>
              <a:rPr lang="el-GR" sz="2000" b="1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l-GR" sz="2000" b="1" kern="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20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21" name="Εικόνα 4" descr="Εικόνα που περιέχει κείμενο, στιγμιότυπο οθόνης, γραμματοσειρά, λειτουργικό σύστημα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EF135CAD-8309-CA75-01B4-F80766F6E28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6288" r="24167" b="7556"/>
          <a:stretch/>
        </p:blipFill>
        <p:spPr>
          <a:xfrm>
            <a:off x="5726256" y="223187"/>
            <a:ext cx="5464800" cy="588170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24C09BD-45D4-ED96-CDCF-14FF056F1D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5126" y="289815"/>
            <a:ext cx="5087060" cy="885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5745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0BF4DC-4208-D9BA-1921-4ABB24BD37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74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Τίτλος 2">
            <a:extLst>
              <a:ext uri="{FF2B5EF4-FFF2-40B4-BE49-F238E27FC236}">
                <a16:creationId xmlns:a16="http://schemas.microsoft.com/office/drawing/2014/main" id="{B827D75D-A7C5-68B9-DD2F-EDE0A5091300}"/>
              </a:ext>
            </a:extLst>
          </p:cNvPr>
          <p:cNvSpPr txBox="1">
            <a:spLocks/>
          </p:cNvSpPr>
          <p:nvPr/>
        </p:nvSpPr>
        <p:spPr>
          <a:xfrm>
            <a:off x="326269" y="542192"/>
            <a:ext cx="11492342" cy="705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2000" u="sng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el-GR" sz="2000" u="sng" kern="0" baseline="30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ς</a:t>
            </a:r>
            <a:r>
              <a:rPr lang="el-GR" sz="2000" u="sng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Άξονας:</a:t>
            </a:r>
            <a:r>
              <a:rPr lang="el-GR" sz="2000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000" b="1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Υποστήριξη και Ενημέρωση κατά την Έξοδο από το Νοσοκομείο </a:t>
            </a:r>
          </a:p>
        </p:txBody>
      </p:sp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21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5" name="Εικόνα 4" descr="Εικόνα που περιέχει κείμενο, στιγμιότυπο οθόνης, λογισμικό, λειτουργικό σύστημα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8A4B3774-CAEC-37DB-4BF2-A9B56D680F5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3940" r="25151" b="3094"/>
          <a:stretch/>
        </p:blipFill>
        <p:spPr>
          <a:xfrm>
            <a:off x="6427486" y="979055"/>
            <a:ext cx="4774541" cy="5033819"/>
          </a:xfrm>
          <a:prstGeom prst="rect">
            <a:avLst/>
          </a:prstGeom>
        </p:spPr>
      </p:pic>
      <p:pic>
        <p:nvPicPr>
          <p:cNvPr id="7" name="Εικόνα 6" descr="Εικόνα που περιέχει κείμενο, στιγμιότυπο οθόνης, λειτουργικό σύστημα, λογισμικό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FCE4E56F-FA1B-65BA-D1FF-CE0A8528C16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4470" r="25000" b="15621"/>
          <a:stretch/>
        </p:blipFill>
        <p:spPr>
          <a:xfrm>
            <a:off x="988827" y="979055"/>
            <a:ext cx="5461677" cy="503381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65B4354-EB66-27D9-05AB-D9F89FE8B05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15595"/>
          <a:stretch/>
        </p:blipFill>
        <p:spPr>
          <a:xfrm>
            <a:off x="1532345" y="1035743"/>
            <a:ext cx="4201111" cy="81210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BD0B521-B895-B114-01D4-DF2B74B601E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24504"/>
          <a:stretch/>
        </p:blipFill>
        <p:spPr>
          <a:xfrm>
            <a:off x="6639518" y="1035744"/>
            <a:ext cx="4201111" cy="72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5861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997872F-E31B-031C-19DD-59734A699C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5544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22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8" name="Τίτλος 2">
            <a:extLst>
              <a:ext uri="{FF2B5EF4-FFF2-40B4-BE49-F238E27FC236}">
                <a16:creationId xmlns:a16="http://schemas.microsoft.com/office/drawing/2014/main" id="{CFE31CFF-A129-80CB-241A-08A615F5385E}"/>
              </a:ext>
            </a:extLst>
          </p:cNvPr>
          <p:cNvSpPr txBox="1">
            <a:spLocks/>
          </p:cNvSpPr>
          <p:nvPr/>
        </p:nvSpPr>
        <p:spPr>
          <a:xfrm>
            <a:off x="326269" y="542192"/>
            <a:ext cx="11492342" cy="705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2000" u="sng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el-GR" sz="2000" u="sng" kern="0" baseline="30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ς</a:t>
            </a:r>
            <a:r>
              <a:rPr lang="el-GR" sz="2000" u="sng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Άξονας:</a:t>
            </a:r>
            <a:r>
              <a:rPr lang="el-GR" sz="2000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000" b="1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Υποστήριξη και Ενημέρωση κατά την Έξοδο από το Νοσοκομείο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49A5B6-01F4-82FD-A863-034C42F542C4}"/>
              </a:ext>
            </a:extLst>
          </p:cNvPr>
          <p:cNvGrpSpPr/>
          <p:nvPr/>
        </p:nvGrpSpPr>
        <p:grpSpPr>
          <a:xfrm>
            <a:off x="988827" y="979054"/>
            <a:ext cx="10214346" cy="5031222"/>
            <a:chOff x="988827" y="979054"/>
            <a:chExt cx="10214346" cy="5031222"/>
          </a:xfrm>
        </p:grpSpPr>
        <p:pic>
          <p:nvPicPr>
            <p:cNvPr id="12" name="Εικόνα 4" descr="Εικόνα που περιέχει κείμενο, στιγμιότυπο οθόνης, λειτουργικό σύστημα, γραμματοσειρά&#10;&#10;Το περιεχόμενο που δημιουργείται από AI ενδέχεται να είναι εσφαλμένο.">
              <a:extLst>
                <a:ext uri="{FF2B5EF4-FFF2-40B4-BE49-F238E27FC236}">
                  <a16:creationId xmlns:a16="http://schemas.microsoft.com/office/drawing/2014/main" id="{8CA4CD38-DF47-CEEA-4312-957E6AE718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4318" r="26439" b="17722"/>
            <a:stretch/>
          </p:blipFill>
          <p:spPr>
            <a:xfrm>
              <a:off x="6276975" y="979054"/>
              <a:ext cx="4926198" cy="5031222"/>
            </a:xfrm>
            <a:prstGeom prst="rect">
              <a:avLst/>
            </a:prstGeom>
          </p:spPr>
        </p:pic>
        <p:pic>
          <p:nvPicPr>
            <p:cNvPr id="13" name="Εικόνα 6" descr="Εικόνα που περιέχει κείμενο, στιγμιότυπο οθόνης, λειτουργικό σύστημα, λογισμικό&#10;&#10;Το περιεχόμενο που δημιουργείται από AI ενδέχεται να είναι εσφαλμένο.">
              <a:extLst>
                <a:ext uri="{FF2B5EF4-FFF2-40B4-BE49-F238E27FC236}">
                  <a16:creationId xmlns:a16="http://schemas.microsoft.com/office/drawing/2014/main" id="{FAEBDCFC-7C37-9935-B640-9C54FB7D23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24243" r="28634" b="21751"/>
            <a:stretch/>
          </p:blipFill>
          <p:spPr>
            <a:xfrm>
              <a:off x="988827" y="979054"/>
              <a:ext cx="5288148" cy="5031222"/>
            </a:xfrm>
            <a:prstGeom prst="rect">
              <a:avLst/>
            </a:prstGeom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E830F771-64CF-E1C9-4DD3-D995E801248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15595"/>
          <a:stretch/>
        </p:blipFill>
        <p:spPr>
          <a:xfrm>
            <a:off x="1532345" y="1035743"/>
            <a:ext cx="4201111" cy="81210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9D3B497-CD13-34DB-5A43-636000F73E0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24504"/>
          <a:stretch/>
        </p:blipFill>
        <p:spPr>
          <a:xfrm>
            <a:off x="6639518" y="1035744"/>
            <a:ext cx="4201111" cy="72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0572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8670008-F0F6-9B79-9CB0-FED00D3221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3839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Τίτλος 2">
            <a:extLst>
              <a:ext uri="{FF2B5EF4-FFF2-40B4-BE49-F238E27FC236}">
                <a16:creationId xmlns:a16="http://schemas.microsoft.com/office/drawing/2014/main" id="{CB38AD7B-FC51-BEF2-881B-2FCFA1D8FCFD}"/>
              </a:ext>
            </a:extLst>
          </p:cNvPr>
          <p:cNvSpPr txBox="1">
            <a:spLocks/>
          </p:cNvSpPr>
          <p:nvPr/>
        </p:nvSpPr>
        <p:spPr>
          <a:xfrm>
            <a:off x="326269" y="542192"/>
            <a:ext cx="11492342" cy="705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2000" u="sng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el-GR" sz="2000" u="sng" kern="0" baseline="30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ς</a:t>
            </a:r>
            <a:r>
              <a:rPr lang="el-GR" sz="2000" u="sng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Άξονας:</a:t>
            </a:r>
            <a:r>
              <a:rPr lang="el-GR" sz="2000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000" b="1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Γραφείο Προστασίας Δικαιωμάτων Ληπτών Υπηρεσιών Υγείας </a:t>
            </a:r>
          </a:p>
        </p:txBody>
      </p:sp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23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5" name="Εικόνα 4" descr="Εικόνα που περιέχει κείμενο, στιγμιότυπο οθόνης, λειτουργικό σύστημα, γραμματοσειρά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71EB0430-DB45-390F-8B55-4841CF5E530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4393" r="25606" b="35442"/>
          <a:stretch/>
        </p:blipFill>
        <p:spPr>
          <a:xfrm>
            <a:off x="147776" y="2078183"/>
            <a:ext cx="4001668" cy="2964872"/>
          </a:xfrm>
          <a:prstGeom prst="rect">
            <a:avLst/>
          </a:prstGeom>
        </p:spPr>
      </p:pic>
      <p:pic>
        <p:nvPicPr>
          <p:cNvPr id="7" name="Εικόνα 6" descr="Εικόνα που περιέχει κείμενο, στιγμιότυπο οθόνης, λειτουργικό σύστημα, γραμματοσειρά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A213121A-12F3-9740-90A8-F3B23990D73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3182" r="26894" b="26061"/>
          <a:stretch/>
        </p:blipFill>
        <p:spPr>
          <a:xfrm>
            <a:off x="3930904" y="2078184"/>
            <a:ext cx="3558926" cy="2964872"/>
          </a:xfrm>
          <a:prstGeom prst="rect">
            <a:avLst/>
          </a:prstGeom>
        </p:spPr>
      </p:pic>
      <p:pic>
        <p:nvPicPr>
          <p:cNvPr id="6" name="Εικόνα 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60" r="26138" b="41818"/>
          <a:stretch/>
        </p:blipFill>
        <p:spPr>
          <a:xfrm>
            <a:off x="7391906" y="2078183"/>
            <a:ext cx="4440448" cy="296487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C389C0C-91CC-7EBD-9BB1-CD666D9F3C7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3905" y="2157373"/>
            <a:ext cx="3115110" cy="56205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AED40AA-4F9B-769E-866C-7FB9DC6FCC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57848" y="2157373"/>
            <a:ext cx="3115110" cy="562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966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24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" name="Τίτλος 2"/>
          <p:cNvSpPr>
            <a:spLocks noGrp="1"/>
          </p:cNvSpPr>
          <p:nvPr>
            <p:ph type="title"/>
          </p:nvPr>
        </p:nvSpPr>
        <p:spPr>
          <a:xfrm>
            <a:off x="261613" y="2158557"/>
            <a:ext cx="3248205" cy="1471334"/>
          </a:xfrm>
        </p:spPr>
        <p:txBody>
          <a:bodyPr/>
          <a:lstStyle/>
          <a:p>
            <a:pPr algn="ctr"/>
            <a:r>
              <a:rPr lang="en-US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</a:t>
            </a:r>
            <a:r>
              <a:rPr lang="el-GR" sz="2000" u="sng" baseline="30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ς</a:t>
            </a:r>
            <a:r>
              <a:rPr lang="el-GR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Άξονας</a:t>
            </a:r>
            <a:r>
              <a:rPr lang="en-US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br>
              <a:rPr lang="en-US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n-US" sz="2000" u="sng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Γενική/ συνολική αξιολόγηση της παρεχόμενης φροντίδας </a:t>
            </a:r>
            <a:br>
              <a:rPr lang="el-GR" sz="2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l-GR" sz="200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n-US" sz="1800" dirty="0">
                <a:solidFill>
                  <a:srgbClr val="4A66AC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l-GR" sz="1800" b="1" dirty="0">
              <a:solidFill>
                <a:schemeClr val="tx2">
                  <a:lumMod val="1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Εικόνα 5" descr="Εικόνα που περιέχει κείμενο, στιγμιότυπο οθόνης, λειτουργικό σύστημα, λογότυπο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908E5219-4F42-0816-CA49-DC9752333A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484" r="21137" b="27542"/>
          <a:stretch/>
        </p:blipFill>
        <p:spPr>
          <a:xfrm>
            <a:off x="4184073" y="219497"/>
            <a:ext cx="8007927" cy="589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058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>
              <a:buClr>
                <a:srgbClr val="FFFFFF"/>
              </a:buClr>
            </a:pPr>
            <a:fld id="{00000000-1234-1234-1234-123412341234}" type="slidenum">
              <a:rPr lang="el-GR" kern="0" smtClean="0">
                <a:solidFill>
                  <a:srgbClr val="FFFFFF"/>
                </a:solidFill>
              </a:rPr>
              <a:pPr>
                <a:buClr>
                  <a:srgbClr val="FFFFFF"/>
                </a:buClr>
              </a:pPr>
              <a:t>25</a:t>
            </a:fld>
            <a:endParaRPr lang="el-GR" kern="0">
              <a:solidFill>
                <a:srgbClr val="FFFFFF"/>
              </a:solidFill>
            </a:endParaRPr>
          </a:p>
        </p:txBody>
      </p:sp>
      <p:sp>
        <p:nvSpPr>
          <p:cNvPr id="3" name="Τίτλος 2"/>
          <p:cNvSpPr>
            <a:spLocks noGrp="1"/>
          </p:cNvSpPr>
          <p:nvPr>
            <p:ph type="title"/>
          </p:nvPr>
        </p:nvSpPr>
        <p:spPr>
          <a:xfrm>
            <a:off x="634287" y="456154"/>
            <a:ext cx="11492342" cy="705927"/>
          </a:xfrm>
        </p:spPr>
        <p:txBody>
          <a:bodyPr/>
          <a:lstStyle/>
          <a:p>
            <a:pPr lvl="0" algn="ctr"/>
            <a: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ρόσβαση στα Δεδομένα &amp; Ετήσια Έκθεση Πεπραγμένων   </a:t>
            </a:r>
            <a:br>
              <a:rPr lang="el-GR" sz="20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l-GR" sz="20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7" name="Διάγραμμα 6"/>
          <p:cNvGraphicFramePr/>
          <p:nvPr>
            <p:extLst>
              <p:ext uri="{D42A27DB-BD31-4B8C-83A1-F6EECF244321}">
                <p14:modId xmlns:p14="http://schemas.microsoft.com/office/powerpoint/2010/main" val="2885567633"/>
              </p:ext>
            </p:extLst>
          </p:nvPr>
        </p:nvGraphicFramePr>
        <p:xfrm>
          <a:off x="1038719" y="4414982"/>
          <a:ext cx="10432845" cy="14962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Διάγραμμα 4"/>
          <p:cNvGraphicFramePr/>
          <p:nvPr>
            <p:extLst>
              <p:ext uri="{D42A27DB-BD31-4B8C-83A1-F6EECF244321}">
                <p14:modId xmlns:p14="http://schemas.microsoft.com/office/powerpoint/2010/main" val="1346126429"/>
              </p:ext>
            </p:extLst>
          </p:nvPr>
        </p:nvGraphicFramePr>
        <p:xfrm>
          <a:off x="541923" y="840509"/>
          <a:ext cx="11400695" cy="33343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9930752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1BD818B-0A62-32C2-4298-61F1E59BA8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5279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Τίτλος 2">
            <a:extLst>
              <a:ext uri="{FF2B5EF4-FFF2-40B4-BE49-F238E27FC236}">
                <a16:creationId xmlns:a16="http://schemas.microsoft.com/office/drawing/2014/main" id="{63391DD1-70F3-FFEF-C849-7197428116DB}"/>
              </a:ext>
            </a:extLst>
          </p:cNvPr>
          <p:cNvSpPr txBox="1">
            <a:spLocks/>
          </p:cNvSpPr>
          <p:nvPr/>
        </p:nvSpPr>
        <p:spPr>
          <a:xfrm>
            <a:off x="634287" y="456154"/>
            <a:ext cx="11492342" cy="705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2000" b="1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Αναμενόμενα Οφέλη </a:t>
            </a:r>
            <a:endParaRPr lang="el-GR" sz="2000" kern="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26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graphicFrame>
        <p:nvGraphicFramePr>
          <p:cNvPr id="4" name="Διάγραμμα 3"/>
          <p:cNvGraphicFramePr/>
          <p:nvPr>
            <p:extLst>
              <p:ext uri="{D42A27DB-BD31-4B8C-83A1-F6EECF244321}">
                <p14:modId xmlns:p14="http://schemas.microsoft.com/office/powerpoint/2010/main" val="2146802259"/>
              </p:ext>
            </p:extLst>
          </p:nvPr>
        </p:nvGraphicFramePr>
        <p:xfrm>
          <a:off x="1524000" y="1061410"/>
          <a:ext cx="9413966" cy="45643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1306306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think-cell data - do not delete" hidden="1">
            <a:extLst>
              <a:ext uri="{FF2B5EF4-FFF2-40B4-BE49-F238E27FC236}">
                <a16:creationId xmlns:a16="http://schemas.microsoft.com/office/drawing/2014/main" id="{A521AD09-A420-351D-6DC3-BA6D23AD34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7753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>
          <a:xfrm>
            <a:off x="11399778" y="6217619"/>
            <a:ext cx="522000" cy="524700"/>
          </a:xfrm>
        </p:spPr>
        <p:txBody>
          <a:bodyPr/>
          <a:lstStyle/>
          <a:p>
            <a:pPr>
              <a:buClr>
                <a:srgbClr val="FFFFFF"/>
              </a:buClr>
            </a:pPr>
            <a:fld id="{00000000-1234-1234-1234-123412341234}" type="slidenum">
              <a:rPr lang="el-GR" kern="0" smtClean="0">
                <a:solidFill>
                  <a:srgbClr val="FFFFFF"/>
                </a:solidFill>
              </a:rPr>
              <a:pPr>
                <a:buClr>
                  <a:srgbClr val="FFFFFF"/>
                </a:buClr>
              </a:pPr>
              <a:t>27</a:t>
            </a:fld>
            <a:endParaRPr lang="el-GR" kern="0">
              <a:solidFill>
                <a:srgbClr val="FFFFFF"/>
              </a:solidFill>
            </a:endParaRPr>
          </a:p>
        </p:txBody>
      </p:sp>
      <p:sp>
        <p:nvSpPr>
          <p:cNvPr id="4" name="Ορθογώνιο 3"/>
          <p:cNvSpPr/>
          <p:nvPr/>
        </p:nvSpPr>
        <p:spPr>
          <a:xfrm>
            <a:off x="8706176" y="1530437"/>
            <a:ext cx="3161082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800"/>
              </a:spcAft>
            </a:pPr>
            <a:r>
              <a:rPr lang="el-GR" sz="1400" b="1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Αξιολόγηση της δυνατότητας επέκτασης   </a:t>
            </a:r>
            <a:r>
              <a:rPr lang="el-GR" sz="12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για την αξιολόγηση της εμπειρίας στα Τ.Ε.Π./σε ειδικές κατηγορίες νοσοκομείων (π.χ. παιδιατρικά, ογκολογικά)  </a:t>
            </a:r>
            <a:endParaRPr lang="el-GR" sz="1200" dirty="0">
              <a:solidFill>
                <a:schemeClr val="accent3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5" name="Google Shape;192;p18"/>
          <p:cNvGrpSpPr/>
          <p:nvPr/>
        </p:nvGrpSpPr>
        <p:grpSpPr>
          <a:xfrm>
            <a:off x="7096797" y="1744520"/>
            <a:ext cx="1366461" cy="2065079"/>
            <a:chOff x="5171192" y="1714865"/>
            <a:chExt cx="989574" cy="1597133"/>
          </a:xfrm>
          <a:solidFill>
            <a:schemeClr val="bg2"/>
          </a:solidFill>
        </p:grpSpPr>
        <p:sp>
          <p:nvSpPr>
            <p:cNvPr id="6" name="Google Shape;193;p18"/>
            <p:cNvSpPr/>
            <p:nvPr/>
          </p:nvSpPr>
          <p:spPr>
            <a:xfrm>
              <a:off x="5603904" y="3247788"/>
              <a:ext cx="129281" cy="64210"/>
            </a:xfrm>
            <a:custGeom>
              <a:avLst/>
              <a:gdLst/>
              <a:ahLst/>
              <a:cxnLst/>
              <a:rect l="l" t="t" r="r" b="b"/>
              <a:pathLst>
                <a:path w="2100" h="1043" extrusionOk="0">
                  <a:moveTo>
                    <a:pt x="1043" y="0"/>
                  </a:moveTo>
                  <a:lnTo>
                    <a:pt x="1" y="1043"/>
                  </a:lnTo>
                  <a:lnTo>
                    <a:pt x="2100" y="1043"/>
                  </a:lnTo>
                  <a:lnTo>
                    <a:pt x="10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7" name="Google Shape;195;p18"/>
            <p:cNvSpPr/>
            <p:nvPr/>
          </p:nvSpPr>
          <p:spPr>
            <a:xfrm>
              <a:off x="5171192" y="1714865"/>
              <a:ext cx="989574" cy="1034500"/>
            </a:xfrm>
            <a:custGeom>
              <a:avLst/>
              <a:gdLst/>
              <a:ahLst/>
              <a:cxnLst/>
              <a:rect l="l" t="t" r="r" b="b"/>
              <a:pathLst>
                <a:path w="20041" h="21004" extrusionOk="0">
                  <a:moveTo>
                    <a:pt x="10020" y="21004"/>
                  </a:moveTo>
                  <a:lnTo>
                    <a:pt x="12265" y="18760"/>
                  </a:lnTo>
                  <a:cubicBezTo>
                    <a:pt x="16951" y="17624"/>
                    <a:pt x="20040" y="13162"/>
                    <a:pt x="19473" y="8383"/>
                  </a:cubicBezTo>
                  <a:cubicBezTo>
                    <a:pt x="18892" y="3604"/>
                    <a:pt x="14839" y="0"/>
                    <a:pt x="10020" y="0"/>
                  </a:cubicBezTo>
                  <a:cubicBezTo>
                    <a:pt x="5202" y="0"/>
                    <a:pt x="1149" y="3604"/>
                    <a:pt x="568" y="8383"/>
                  </a:cubicBezTo>
                  <a:cubicBezTo>
                    <a:pt x="0" y="13162"/>
                    <a:pt x="3090" y="17624"/>
                    <a:pt x="7776" y="187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grpSp>
        <p:nvGrpSpPr>
          <p:cNvPr id="8" name="Google Shape;197;p18"/>
          <p:cNvGrpSpPr/>
          <p:nvPr/>
        </p:nvGrpSpPr>
        <p:grpSpPr>
          <a:xfrm>
            <a:off x="9652415" y="2985716"/>
            <a:ext cx="1348094" cy="2025158"/>
            <a:chOff x="7360168" y="2612573"/>
            <a:chExt cx="966828" cy="1575303"/>
          </a:xfrm>
          <a:solidFill>
            <a:schemeClr val="bg2"/>
          </a:solidFill>
        </p:grpSpPr>
        <p:sp>
          <p:nvSpPr>
            <p:cNvPr id="9" name="Google Shape;198;p18"/>
            <p:cNvSpPr/>
            <p:nvPr/>
          </p:nvSpPr>
          <p:spPr>
            <a:xfrm>
              <a:off x="7781447" y="2612573"/>
              <a:ext cx="128481" cy="64271"/>
            </a:xfrm>
            <a:custGeom>
              <a:avLst/>
              <a:gdLst/>
              <a:ahLst/>
              <a:cxnLst/>
              <a:rect l="l" t="t" r="r" b="b"/>
              <a:pathLst>
                <a:path w="2087" h="1044" extrusionOk="0">
                  <a:moveTo>
                    <a:pt x="0" y="0"/>
                  </a:moveTo>
                  <a:lnTo>
                    <a:pt x="1043" y="1043"/>
                  </a:lnTo>
                  <a:lnTo>
                    <a:pt x="208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0" name="Google Shape;200;p18"/>
            <p:cNvSpPr/>
            <p:nvPr/>
          </p:nvSpPr>
          <p:spPr>
            <a:xfrm>
              <a:off x="7360168" y="3178056"/>
              <a:ext cx="966828" cy="1009820"/>
            </a:xfrm>
            <a:custGeom>
              <a:avLst/>
              <a:gdLst/>
              <a:ahLst/>
              <a:cxnLst/>
              <a:rect l="l" t="t" r="r" b="b"/>
              <a:pathLst>
                <a:path w="20041" h="20992" extrusionOk="0">
                  <a:moveTo>
                    <a:pt x="10021" y="1"/>
                  </a:moveTo>
                  <a:lnTo>
                    <a:pt x="12265" y="2245"/>
                  </a:lnTo>
                  <a:cubicBezTo>
                    <a:pt x="16939" y="3380"/>
                    <a:pt x="20041" y="7829"/>
                    <a:pt x="19460" y="12621"/>
                  </a:cubicBezTo>
                  <a:cubicBezTo>
                    <a:pt x="18892" y="17400"/>
                    <a:pt x="14839" y="20991"/>
                    <a:pt x="10021" y="20991"/>
                  </a:cubicBezTo>
                  <a:cubicBezTo>
                    <a:pt x="5202" y="20991"/>
                    <a:pt x="1149" y="17400"/>
                    <a:pt x="569" y="12621"/>
                  </a:cubicBezTo>
                  <a:cubicBezTo>
                    <a:pt x="1" y="7829"/>
                    <a:pt x="3090" y="3380"/>
                    <a:pt x="7777" y="22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11" name="Google Shape;202;p18"/>
          <p:cNvSpPr txBox="1"/>
          <p:nvPr/>
        </p:nvSpPr>
        <p:spPr>
          <a:xfrm>
            <a:off x="7263363" y="2031593"/>
            <a:ext cx="1031991" cy="6776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dirty="0">
                <a:solidFill>
                  <a:schemeClr val="lt1"/>
                </a:solidFill>
                <a:latin typeface="Calibri" panose="020F0502020204030204" pitchFamily="34" charset="0"/>
                <a:ea typeface="Roboto Medium" panose="02000000000000000000" pitchFamily="2" charset="0"/>
                <a:cs typeface="Calibri" panose="020F0502020204030204" pitchFamily="34" charset="0"/>
                <a:sym typeface="Fira Sans Extra Condensed Medium"/>
              </a:rPr>
              <a:t>Οκτώβριος 2025</a:t>
            </a:r>
            <a:endParaRPr b="1" dirty="0">
              <a:solidFill>
                <a:schemeClr val="lt1"/>
              </a:solidFill>
              <a:latin typeface="Calibri" panose="020F0502020204030204" pitchFamily="34" charset="0"/>
              <a:ea typeface="Roboto Medium" panose="02000000000000000000" pitchFamily="2" charset="0"/>
              <a:cs typeface="Calibri" panose="020F0502020204030204" pitchFamily="34" charset="0"/>
              <a:sym typeface="Fira Sans Extra Condensed Medium"/>
            </a:endParaRPr>
          </a:p>
        </p:txBody>
      </p:sp>
      <p:sp>
        <p:nvSpPr>
          <p:cNvPr id="12" name="Google Shape;204;p18"/>
          <p:cNvSpPr txBox="1"/>
          <p:nvPr/>
        </p:nvSpPr>
        <p:spPr>
          <a:xfrm>
            <a:off x="9809878" y="4151374"/>
            <a:ext cx="1025272" cy="6018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dirty="0">
                <a:solidFill>
                  <a:schemeClr val="lt1"/>
                </a:solidFill>
                <a:latin typeface="Calibri" panose="020F0502020204030204" pitchFamily="34" charset="0"/>
                <a:ea typeface="Roboto Medium" panose="02000000000000000000" pitchFamily="2" charset="0"/>
                <a:cs typeface="Calibri" panose="020F0502020204030204" pitchFamily="34" charset="0"/>
                <a:sym typeface="Fira Sans Extra Condensed Medium"/>
              </a:rPr>
              <a:t>Νοέμβριος                2025</a:t>
            </a:r>
            <a:endParaRPr b="1" dirty="0">
              <a:solidFill>
                <a:schemeClr val="lt1"/>
              </a:solidFill>
              <a:latin typeface="Calibri" panose="020F0502020204030204" pitchFamily="34" charset="0"/>
              <a:ea typeface="Roboto Medium" panose="02000000000000000000" pitchFamily="2" charset="0"/>
              <a:cs typeface="Calibri" panose="020F0502020204030204" pitchFamily="34" charset="0"/>
              <a:sym typeface="Fira Sans Extra Condensed Medium"/>
            </a:endParaRPr>
          </a:p>
        </p:txBody>
      </p:sp>
      <p:grpSp>
        <p:nvGrpSpPr>
          <p:cNvPr id="13" name="Google Shape;187;p18">
            <a:extLst>
              <a:ext uri="{FF2B5EF4-FFF2-40B4-BE49-F238E27FC236}">
                <a16:creationId xmlns:a16="http://schemas.microsoft.com/office/drawing/2014/main" id="{4CFCEB9F-A766-4734-AB9C-34FAF02B9277}"/>
              </a:ext>
            </a:extLst>
          </p:cNvPr>
          <p:cNvGrpSpPr/>
          <p:nvPr/>
        </p:nvGrpSpPr>
        <p:grpSpPr>
          <a:xfrm>
            <a:off x="4553124" y="2864798"/>
            <a:ext cx="1465209" cy="2203321"/>
            <a:chOff x="3002437" y="2612586"/>
            <a:chExt cx="1004169" cy="1647374"/>
          </a:xfrm>
          <a:solidFill>
            <a:schemeClr val="bg2"/>
          </a:solidFill>
        </p:grpSpPr>
        <p:sp>
          <p:nvSpPr>
            <p:cNvPr id="14" name="Google Shape;189;p18">
              <a:extLst>
                <a:ext uri="{FF2B5EF4-FFF2-40B4-BE49-F238E27FC236}">
                  <a16:creationId xmlns:a16="http://schemas.microsoft.com/office/drawing/2014/main" id="{7D1A7CD6-9278-4B0E-BA49-178EC979A864}"/>
                </a:ext>
              </a:extLst>
            </p:cNvPr>
            <p:cNvSpPr/>
            <p:nvPr/>
          </p:nvSpPr>
          <p:spPr>
            <a:xfrm>
              <a:off x="3002437" y="3178043"/>
              <a:ext cx="1004169" cy="1081917"/>
            </a:xfrm>
            <a:custGeom>
              <a:avLst/>
              <a:gdLst/>
              <a:ahLst/>
              <a:cxnLst/>
              <a:rect l="l" t="t" r="r" b="b"/>
              <a:pathLst>
                <a:path w="20041" h="20992" extrusionOk="0">
                  <a:moveTo>
                    <a:pt x="10021" y="1"/>
                  </a:moveTo>
                  <a:lnTo>
                    <a:pt x="12265" y="2245"/>
                  </a:lnTo>
                  <a:cubicBezTo>
                    <a:pt x="16952" y="3380"/>
                    <a:pt x="20041" y="7829"/>
                    <a:pt x="19473" y="12621"/>
                  </a:cubicBezTo>
                  <a:cubicBezTo>
                    <a:pt x="18892" y="17400"/>
                    <a:pt x="14839" y="20991"/>
                    <a:pt x="10021" y="20991"/>
                  </a:cubicBezTo>
                  <a:cubicBezTo>
                    <a:pt x="5202" y="20991"/>
                    <a:pt x="1149" y="17400"/>
                    <a:pt x="568" y="12621"/>
                  </a:cubicBezTo>
                  <a:cubicBezTo>
                    <a:pt x="1" y="7829"/>
                    <a:pt x="3090" y="3380"/>
                    <a:pt x="7776" y="22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5" name="Google Shape;191;p18">
              <a:extLst>
                <a:ext uri="{FF2B5EF4-FFF2-40B4-BE49-F238E27FC236}">
                  <a16:creationId xmlns:a16="http://schemas.microsoft.com/office/drawing/2014/main" id="{D6C0B96C-5FC8-4925-A129-0C291AC5BEF0}"/>
                </a:ext>
              </a:extLst>
            </p:cNvPr>
            <p:cNvSpPr/>
            <p:nvPr/>
          </p:nvSpPr>
          <p:spPr>
            <a:xfrm>
              <a:off x="3419136" y="2612586"/>
              <a:ext cx="129281" cy="64271"/>
            </a:xfrm>
            <a:custGeom>
              <a:avLst/>
              <a:gdLst/>
              <a:ahLst/>
              <a:cxnLst/>
              <a:rect l="l" t="t" r="r" b="b"/>
              <a:pathLst>
                <a:path w="2100" h="1044" extrusionOk="0">
                  <a:moveTo>
                    <a:pt x="1" y="0"/>
                  </a:moveTo>
                  <a:lnTo>
                    <a:pt x="1044" y="1043"/>
                  </a:lnTo>
                  <a:lnTo>
                    <a:pt x="210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16" name="Google Shape;203;p18">
            <a:extLst>
              <a:ext uri="{FF2B5EF4-FFF2-40B4-BE49-F238E27FC236}">
                <a16:creationId xmlns:a16="http://schemas.microsoft.com/office/drawing/2014/main" id="{9194C762-03FC-4CBC-A31E-6BFFE4D3BABE}"/>
              </a:ext>
            </a:extLst>
          </p:cNvPr>
          <p:cNvSpPr txBox="1"/>
          <p:nvPr/>
        </p:nvSpPr>
        <p:spPr>
          <a:xfrm>
            <a:off x="4734379" y="4126796"/>
            <a:ext cx="1112239" cy="62641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dirty="0">
                <a:solidFill>
                  <a:schemeClr val="lt1"/>
                </a:solidFill>
                <a:latin typeface="Calibri" panose="020F0502020204030204" pitchFamily="34" charset="0"/>
                <a:ea typeface="Roboto Medium" panose="02000000000000000000" pitchFamily="2" charset="0"/>
                <a:cs typeface="Calibri" panose="020F0502020204030204" pitchFamily="34" charset="0"/>
                <a:sym typeface="Fira Sans Extra Condensed Medium"/>
              </a:rPr>
              <a:t>Σεπτέμβριος  2025</a:t>
            </a:r>
            <a:endParaRPr b="1" dirty="0">
              <a:solidFill>
                <a:schemeClr val="lt1"/>
              </a:solidFill>
              <a:latin typeface="Calibri" panose="020F0502020204030204" pitchFamily="34" charset="0"/>
              <a:ea typeface="Roboto Medium" panose="02000000000000000000" pitchFamily="2" charset="0"/>
              <a:cs typeface="Calibri" panose="020F0502020204030204" pitchFamily="34" charset="0"/>
              <a:sym typeface="Fira Sans Extra Condensed Medium"/>
            </a:endParaRPr>
          </a:p>
        </p:txBody>
      </p:sp>
      <p:grpSp>
        <p:nvGrpSpPr>
          <p:cNvPr id="17" name="Google Shape;211;p18">
            <a:extLst>
              <a:ext uri="{FF2B5EF4-FFF2-40B4-BE49-F238E27FC236}">
                <a16:creationId xmlns:a16="http://schemas.microsoft.com/office/drawing/2014/main" id="{0359DC23-3530-42BC-B4C6-A106F75C70A8}"/>
              </a:ext>
            </a:extLst>
          </p:cNvPr>
          <p:cNvGrpSpPr/>
          <p:nvPr/>
        </p:nvGrpSpPr>
        <p:grpSpPr>
          <a:xfrm>
            <a:off x="2096673" y="1693645"/>
            <a:ext cx="1445839" cy="2221638"/>
            <a:chOff x="809385" y="1740899"/>
            <a:chExt cx="972640" cy="1577549"/>
          </a:xfrm>
          <a:solidFill>
            <a:schemeClr val="bg2"/>
          </a:solidFill>
        </p:grpSpPr>
        <p:sp>
          <p:nvSpPr>
            <p:cNvPr id="18" name="Google Shape;213;p18">
              <a:extLst>
                <a:ext uri="{FF2B5EF4-FFF2-40B4-BE49-F238E27FC236}">
                  <a16:creationId xmlns:a16="http://schemas.microsoft.com/office/drawing/2014/main" id="{C5429517-F1B2-45A6-9A2A-1F1EE8E4D5FA}"/>
                </a:ext>
              </a:extLst>
            </p:cNvPr>
            <p:cNvSpPr/>
            <p:nvPr/>
          </p:nvSpPr>
          <p:spPr>
            <a:xfrm>
              <a:off x="809385" y="1740899"/>
              <a:ext cx="972640" cy="1019377"/>
            </a:xfrm>
            <a:custGeom>
              <a:avLst/>
              <a:gdLst/>
              <a:ahLst/>
              <a:cxnLst/>
              <a:rect l="l" t="t" r="r" b="b"/>
              <a:pathLst>
                <a:path w="20041" h="21004" extrusionOk="0">
                  <a:moveTo>
                    <a:pt x="10021" y="21004"/>
                  </a:moveTo>
                  <a:lnTo>
                    <a:pt x="12265" y="18760"/>
                  </a:lnTo>
                  <a:cubicBezTo>
                    <a:pt x="16952" y="17624"/>
                    <a:pt x="20041" y="13162"/>
                    <a:pt x="19473" y="8383"/>
                  </a:cubicBezTo>
                  <a:cubicBezTo>
                    <a:pt x="18906" y="3604"/>
                    <a:pt x="14839" y="0"/>
                    <a:pt x="10021" y="0"/>
                  </a:cubicBezTo>
                  <a:cubicBezTo>
                    <a:pt x="5202" y="0"/>
                    <a:pt x="1149" y="3604"/>
                    <a:pt x="582" y="8383"/>
                  </a:cubicBezTo>
                  <a:cubicBezTo>
                    <a:pt x="1" y="13162"/>
                    <a:pt x="3103" y="17624"/>
                    <a:pt x="7777" y="187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19" name="Google Shape;215;p18">
              <a:extLst>
                <a:ext uri="{FF2B5EF4-FFF2-40B4-BE49-F238E27FC236}">
                  <a16:creationId xmlns:a16="http://schemas.microsoft.com/office/drawing/2014/main" id="{F4548F44-6D45-4B62-B6EF-1039EF2C842A}"/>
                </a:ext>
              </a:extLst>
            </p:cNvPr>
            <p:cNvSpPr/>
            <p:nvPr/>
          </p:nvSpPr>
          <p:spPr>
            <a:xfrm>
              <a:off x="1238692" y="3254238"/>
              <a:ext cx="129343" cy="64210"/>
            </a:xfrm>
            <a:custGeom>
              <a:avLst/>
              <a:gdLst/>
              <a:ahLst/>
              <a:cxnLst/>
              <a:rect l="l" t="t" r="r" b="b"/>
              <a:pathLst>
                <a:path w="2101" h="1043" extrusionOk="0">
                  <a:moveTo>
                    <a:pt x="1044" y="0"/>
                  </a:moveTo>
                  <a:lnTo>
                    <a:pt x="1" y="1043"/>
                  </a:lnTo>
                  <a:lnTo>
                    <a:pt x="2100" y="1043"/>
                  </a:lnTo>
                  <a:lnTo>
                    <a:pt x="10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20" name="Google Shape;216;p18">
            <a:extLst>
              <a:ext uri="{FF2B5EF4-FFF2-40B4-BE49-F238E27FC236}">
                <a16:creationId xmlns:a16="http://schemas.microsoft.com/office/drawing/2014/main" id="{7429D8D4-01CE-4432-B6B8-B2ED4F23D20E}"/>
              </a:ext>
            </a:extLst>
          </p:cNvPr>
          <p:cNvSpPr txBox="1"/>
          <p:nvPr/>
        </p:nvSpPr>
        <p:spPr>
          <a:xfrm>
            <a:off x="2478259" y="2473956"/>
            <a:ext cx="642909" cy="3676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Roboto Medium" panose="02000000000000000000" pitchFamily="2" charset="0"/>
              <a:ea typeface="Roboto Medium" panose="02000000000000000000" pitchFamily="2" charset="0"/>
              <a:cs typeface="Fira Sans Extra Condensed Medium"/>
              <a:sym typeface="Fira Sans Extra Condensed Medium"/>
            </a:endParaRPr>
          </a:p>
        </p:txBody>
      </p:sp>
      <p:grpSp>
        <p:nvGrpSpPr>
          <p:cNvPr id="21" name="Google Shape;219;p18">
            <a:extLst>
              <a:ext uri="{FF2B5EF4-FFF2-40B4-BE49-F238E27FC236}">
                <a16:creationId xmlns:a16="http://schemas.microsoft.com/office/drawing/2014/main" id="{6FAD451C-8F76-408B-BE9F-9F1CB8890E8A}"/>
              </a:ext>
            </a:extLst>
          </p:cNvPr>
          <p:cNvGrpSpPr/>
          <p:nvPr/>
        </p:nvGrpSpPr>
        <p:grpSpPr>
          <a:xfrm>
            <a:off x="1786000" y="3282713"/>
            <a:ext cx="9528545" cy="225996"/>
            <a:chOff x="411223" y="2838269"/>
            <a:chExt cx="8319225" cy="225996"/>
          </a:xfrm>
          <a:solidFill>
            <a:schemeClr val="tx2"/>
          </a:solidFill>
        </p:grpSpPr>
        <p:sp>
          <p:nvSpPr>
            <p:cNvPr id="22" name="Google Shape;220;p18">
              <a:extLst>
                <a:ext uri="{FF2B5EF4-FFF2-40B4-BE49-F238E27FC236}">
                  <a16:creationId xmlns:a16="http://schemas.microsoft.com/office/drawing/2014/main" id="{50D79CE6-E54D-4A9B-AE96-ABA9C960F920}"/>
                </a:ext>
              </a:extLst>
            </p:cNvPr>
            <p:cNvSpPr/>
            <p:nvPr/>
          </p:nvSpPr>
          <p:spPr>
            <a:xfrm>
              <a:off x="411223" y="2939850"/>
              <a:ext cx="8319225" cy="54551"/>
            </a:xfrm>
            <a:custGeom>
              <a:avLst/>
              <a:gdLst/>
              <a:ahLst/>
              <a:cxnLst/>
              <a:rect l="l" t="t" r="r" b="b"/>
              <a:pathLst>
                <a:path w="78788" h="886" extrusionOk="0">
                  <a:moveTo>
                    <a:pt x="78787" y="159"/>
                  </a:moveTo>
                  <a:lnTo>
                    <a:pt x="78787" y="714"/>
                  </a:lnTo>
                  <a:cubicBezTo>
                    <a:pt x="78787" y="806"/>
                    <a:pt x="78721" y="885"/>
                    <a:pt x="78629" y="885"/>
                  </a:cubicBezTo>
                  <a:lnTo>
                    <a:pt x="159" y="885"/>
                  </a:lnTo>
                  <a:cubicBezTo>
                    <a:pt x="66" y="885"/>
                    <a:pt x="0" y="806"/>
                    <a:pt x="0" y="714"/>
                  </a:cubicBezTo>
                  <a:lnTo>
                    <a:pt x="0" y="159"/>
                  </a:lnTo>
                  <a:cubicBezTo>
                    <a:pt x="0" y="67"/>
                    <a:pt x="66" y="1"/>
                    <a:pt x="159" y="1"/>
                  </a:cubicBezTo>
                  <a:lnTo>
                    <a:pt x="78629" y="1"/>
                  </a:lnTo>
                  <a:cubicBezTo>
                    <a:pt x="78721" y="1"/>
                    <a:pt x="78787" y="80"/>
                    <a:pt x="78787" y="15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grpSp>
          <p:nvGrpSpPr>
            <p:cNvPr id="23" name="Google Shape;221;p18">
              <a:extLst>
                <a:ext uri="{FF2B5EF4-FFF2-40B4-BE49-F238E27FC236}">
                  <a16:creationId xmlns:a16="http://schemas.microsoft.com/office/drawing/2014/main" id="{7C562EAD-C101-4D09-A724-6B8FEC0C6BCF}"/>
                </a:ext>
              </a:extLst>
            </p:cNvPr>
            <p:cNvGrpSpPr/>
            <p:nvPr/>
          </p:nvGrpSpPr>
          <p:grpSpPr>
            <a:xfrm>
              <a:off x="5565581" y="2838269"/>
              <a:ext cx="225196" cy="225196"/>
              <a:chOff x="5121898" y="2838269"/>
              <a:chExt cx="225196" cy="225196"/>
            </a:xfrm>
            <a:grpFill/>
          </p:grpSpPr>
          <p:sp>
            <p:nvSpPr>
              <p:cNvPr id="75" name="Google Shape;222;p18">
                <a:extLst>
                  <a:ext uri="{FF2B5EF4-FFF2-40B4-BE49-F238E27FC236}">
                    <a16:creationId xmlns:a16="http://schemas.microsoft.com/office/drawing/2014/main" id="{2EED4E46-4B57-44C1-8D4F-9489FD51ABDC}"/>
                  </a:ext>
                </a:extLst>
              </p:cNvPr>
              <p:cNvSpPr/>
              <p:nvPr/>
            </p:nvSpPr>
            <p:spPr>
              <a:xfrm>
                <a:off x="5121898" y="2870405"/>
                <a:ext cx="225196" cy="193060"/>
              </a:xfrm>
              <a:custGeom>
                <a:avLst/>
                <a:gdLst/>
                <a:ahLst/>
                <a:cxnLst/>
                <a:rect l="l" t="t" r="r" b="b"/>
                <a:pathLst>
                  <a:path w="3658" h="3136" extrusionOk="0">
                    <a:moveTo>
                      <a:pt x="1586" y="0"/>
                    </a:moveTo>
                    <a:cubicBezTo>
                      <a:pt x="777" y="0"/>
                      <a:pt x="0" y="625"/>
                      <a:pt x="0" y="1565"/>
                    </a:cubicBezTo>
                    <a:cubicBezTo>
                      <a:pt x="0" y="2436"/>
                      <a:pt x="700" y="3136"/>
                      <a:pt x="1571" y="3136"/>
                    </a:cubicBezTo>
                    <a:cubicBezTo>
                      <a:pt x="2971" y="3136"/>
                      <a:pt x="3657" y="1446"/>
                      <a:pt x="2680" y="456"/>
                    </a:cubicBezTo>
                    <a:cubicBezTo>
                      <a:pt x="2362" y="141"/>
                      <a:pt x="1970" y="0"/>
                      <a:pt x="158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76" name="Google Shape;223;p18">
                <a:extLst>
                  <a:ext uri="{FF2B5EF4-FFF2-40B4-BE49-F238E27FC236}">
                    <a16:creationId xmlns:a16="http://schemas.microsoft.com/office/drawing/2014/main" id="{EF8756E0-6129-411A-A31A-15E23642123E}"/>
                  </a:ext>
                </a:extLst>
              </p:cNvPr>
              <p:cNvSpPr/>
              <p:nvPr/>
            </p:nvSpPr>
            <p:spPr>
              <a:xfrm>
                <a:off x="5121898" y="2838269"/>
                <a:ext cx="225196" cy="225196"/>
              </a:xfrm>
              <a:custGeom>
                <a:avLst/>
                <a:gdLst/>
                <a:ahLst/>
                <a:cxnLst/>
                <a:rect l="l" t="t" r="r" b="b"/>
                <a:pathLst>
                  <a:path w="3658" h="3658" extrusionOk="0">
                    <a:moveTo>
                      <a:pt x="0" y="2087"/>
                    </a:moveTo>
                    <a:cubicBezTo>
                      <a:pt x="0" y="700"/>
                      <a:pt x="1690" y="1"/>
                      <a:pt x="2680" y="978"/>
                    </a:cubicBezTo>
                    <a:cubicBezTo>
                      <a:pt x="3657" y="1968"/>
                      <a:pt x="2971" y="3658"/>
                      <a:pt x="1571" y="3658"/>
                    </a:cubicBezTo>
                    <a:cubicBezTo>
                      <a:pt x="700" y="3658"/>
                      <a:pt x="0" y="2958"/>
                      <a:pt x="0" y="208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77" name="Google Shape;224;p18">
                <a:extLst>
                  <a:ext uri="{FF2B5EF4-FFF2-40B4-BE49-F238E27FC236}">
                    <a16:creationId xmlns:a16="http://schemas.microsoft.com/office/drawing/2014/main" id="{D27B26AC-E70A-40BC-AF0D-86074D43B087}"/>
                  </a:ext>
                </a:extLst>
              </p:cNvPr>
              <p:cNvSpPr/>
              <p:nvPr/>
            </p:nvSpPr>
            <p:spPr>
              <a:xfrm>
                <a:off x="5154403" y="2919533"/>
                <a:ext cx="111428" cy="95299"/>
              </a:xfrm>
              <a:custGeom>
                <a:avLst/>
                <a:gdLst/>
                <a:ahLst/>
                <a:cxnLst/>
                <a:rect l="l" t="t" r="r" b="b"/>
                <a:pathLst>
                  <a:path w="1810" h="1548" extrusionOk="0">
                    <a:moveTo>
                      <a:pt x="1043" y="1"/>
                    </a:moveTo>
                    <a:cubicBezTo>
                      <a:pt x="357" y="1"/>
                      <a:pt x="1" y="833"/>
                      <a:pt x="489" y="1321"/>
                    </a:cubicBezTo>
                    <a:cubicBezTo>
                      <a:pt x="645" y="1478"/>
                      <a:pt x="837" y="1547"/>
                      <a:pt x="1025" y="1547"/>
                    </a:cubicBezTo>
                    <a:cubicBezTo>
                      <a:pt x="1425" y="1547"/>
                      <a:pt x="1809" y="1233"/>
                      <a:pt x="1809" y="767"/>
                    </a:cubicBezTo>
                    <a:cubicBezTo>
                      <a:pt x="1809" y="344"/>
                      <a:pt x="1466" y="1"/>
                      <a:pt x="10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</p:grpSp>
        <p:grpSp>
          <p:nvGrpSpPr>
            <p:cNvPr id="24" name="Google Shape;225;p18">
              <a:extLst>
                <a:ext uri="{FF2B5EF4-FFF2-40B4-BE49-F238E27FC236}">
                  <a16:creationId xmlns:a16="http://schemas.microsoft.com/office/drawing/2014/main" id="{3403CD0E-EBCC-4CAF-8A4D-17F6DE46A6E8}"/>
                </a:ext>
              </a:extLst>
            </p:cNvPr>
            <p:cNvGrpSpPr/>
            <p:nvPr/>
          </p:nvGrpSpPr>
          <p:grpSpPr>
            <a:xfrm>
              <a:off x="7744878" y="2838269"/>
              <a:ext cx="225196" cy="225196"/>
              <a:chOff x="7989728" y="2838269"/>
              <a:chExt cx="225196" cy="225196"/>
            </a:xfrm>
            <a:grpFill/>
          </p:grpSpPr>
          <p:sp>
            <p:nvSpPr>
              <p:cNvPr id="72" name="Google Shape;226;p18">
                <a:extLst>
                  <a:ext uri="{FF2B5EF4-FFF2-40B4-BE49-F238E27FC236}">
                    <a16:creationId xmlns:a16="http://schemas.microsoft.com/office/drawing/2014/main" id="{04B02A35-5551-408E-895C-AA8F947C384A}"/>
                  </a:ext>
                </a:extLst>
              </p:cNvPr>
              <p:cNvSpPr/>
              <p:nvPr/>
            </p:nvSpPr>
            <p:spPr>
              <a:xfrm>
                <a:off x="7989728" y="2870651"/>
                <a:ext cx="225196" cy="192814"/>
              </a:xfrm>
              <a:custGeom>
                <a:avLst/>
                <a:gdLst/>
                <a:ahLst/>
                <a:cxnLst/>
                <a:rect l="l" t="t" r="r" b="b"/>
                <a:pathLst>
                  <a:path w="3658" h="3132" extrusionOk="0">
                    <a:moveTo>
                      <a:pt x="1574" y="1"/>
                    </a:moveTo>
                    <a:cubicBezTo>
                      <a:pt x="772" y="1"/>
                      <a:pt x="0" y="624"/>
                      <a:pt x="0" y="1561"/>
                    </a:cubicBezTo>
                    <a:cubicBezTo>
                      <a:pt x="0" y="2432"/>
                      <a:pt x="700" y="3132"/>
                      <a:pt x="1571" y="3132"/>
                    </a:cubicBezTo>
                    <a:cubicBezTo>
                      <a:pt x="2957" y="3132"/>
                      <a:pt x="3657" y="1442"/>
                      <a:pt x="2667" y="465"/>
                    </a:cubicBezTo>
                    <a:cubicBezTo>
                      <a:pt x="2350" y="144"/>
                      <a:pt x="1959" y="1"/>
                      <a:pt x="157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73" name="Google Shape;227;p18">
                <a:extLst>
                  <a:ext uri="{FF2B5EF4-FFF2-40B4-BE49-F238E27FC236}">
                    <a16:creationId xmlns:a16="http://schemas.microsoft.com/office/drawing/2014/main" id="{B356DB72-7D14-4C2E-B055-64948E042328}"/>
                  </a:ext>
                </a:extLst>
              </p:cNvPr>
              <p:cNvSpPr/>
              <p:nvPr/>
            </p:nvSpPr>
            <p:spPr>
              <a:xfrm>
                <a:off x="7989728" y="2838269"/>
                <a:ext cx="225196" cy="225196"/>
              </a:xfrm>
              <a:custGeom>
                <a:avLst/>
                <a:gdLst/>
                <a:ahLst/>
                <a:cxnLst/>
                <a:rect l="l" t="t" r="r" b="b"/>
                <a:pathLst>
                  <a:path w="3658" h="3658" extrusionOk="0">
                    <a:moveTo>
                      <a:pt x="0" y="2087"/>
                    </a:moveTo>
                    <a:cubicBezTo>
                      <a:pt x="0" y="700"/>
                      <a:pt x="1690" y="1"/>
                      <a:pt x="2667" y="991"/>
                    </a:cubicBezTo>
                    <a:cubicBezTo>
                      <a:pt x="3657" y="1968"/>
                      <a:pt x="2957" y="3658"/>
                      <a:pt x="1571" y="3658"/>
                    </a:cubicBezTo>
                    <a:cubicBezTo>
                      <a:pt x="700" y="3658"/>
                      <a:pt x="0" y="2958"/>
                      <a:pt x="0" y="208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74" name="Google Shape;228;p18">
                <a:extLst>
                  <a:ext uri="{FF2B5EF4-FFF2-40B4-BE49-F238E27FC236}">
                    <a16:creationId xmlns:a16="http://schemas.microsoft.com/office/drawing/2014/main" id="{FC5DBB64-A477-4C52-A4A2-95630DD4A240}"/>
                  </a:ext>
                </a:extLst>
              </p:cNvPr>
              <p:cNvSpPr/>
              <p:nvPr/>
            </p:nvSpPr>
            <p:spPr>
              <a:xfrm>
                <a:off x="8022234" y="2919533"/>
                <a:ext cx="111367" cy="95299"/>
              </a:xfrm>
              <a:custGeom>
                <a:avLst/>
                <a:gdLst/>
                <a:ahLst/>
                <a:cxnLst/>
                <a:rect l="l" t="t" r="r" b="b"/>
                <a:pathLst>
                  <a:path w="1809" h="1548" extrusionOk="0">
                    <a:moveTo>
                      <a:pt x="1043" y="1"/>
                    </a:moveTo>
                    <a:cubicBezTo>
                      <a:pt x="344" y="1"/>
                      <a:pt x="0" y="833"/>
                      <a:pt x="489" y="1321"/>
                    </a:cubicBezTo>
                    <a:cubicBezTo>
                      <a:pt x="645" y="1478"/>
                      <a:pt x="837" y="1547"/>
                      <a:pt x="1025" y="1547"/>
                    </a:cubicBezTo>
                    <a:cubicBezTo>
                      <a:pt x="1425" y="1547"/>
                      <a:pt x="1809" y="1233"/>
                      <a:pt x="1809" y="767"/>
                    </a:cubicBezTo>
                    <a:cubicBezTo>
                      <a:pt x="1809" y="344"/>
                      <a:pt x="1466" y="1"/>
                      <a:pt x="10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</p:grpSp>
        <p:grpSp>
          <p:nvGrpSpPr>
            <p:cNvPr id="25" name="Google Shape;229;p18">
              <a:extLst>
                <a:ext uri="{FF2B5EF4-FFF2-40B4-BE49-F238E27FC236}">
                  <a16:creationId xmlns:a16="http://schemas.microsoft.com/office/drawing/2014/main" id="{9ED4B1E8-7E6A-47C3-B6B0-EA24C639313E}"/>
                </a:ext>
              </a:extLst>
            </p:cNvPr>
            <p:cNvGrpSpPr/>
            <p:nvPr/>
          </p:nvGrpSpPr>
          <p:grpSpPr>
            <a:xfrm>
              <a:off x="3386284" y="2838269"/>
              <a:ext cx="225196" cy="225196"/>
              <a:chOff x="3824755" y="2838269"/>
              <a:chExt cx="225196" cy="225196"/>
            </a:xfrm>
            <a:grpFill/>
          </p:grpSpPr>
          <p:sp>
            <p:nvSpPr>
              <p:cNvPr id="69" name="Google Shape;230;p18">
                <a:extLst>
                  <a:ext uri="{FF2B5EF4-FFF2-40B4-BE49-F238E27FC236}">
                    <a16:creationId xmlns:a16="http://schemas.microsoft.com/office/drawing/2014/main" id="{5081BB74-CD3E-4E92-B5FC-751166E7518C}"/>
                  </a:ext>
                </a:extLst>
              </p:cNvPr>
              <p:cNvSpPr/>
              <p:nvPr/>
            </p:nvSpPr>
            <p:spPr>
              <a:xfrm>
                <a:off x="3824755" y="2870651"/>
                <a:ext cx="225196" cy="192814"/>
              </a:xfrm>
              <a:custGeom>
                <a:avLst/>
                <a:gdLst/>
                <a:ahLst/>
                <a:cxnLst/>
                <a:rect l="l" t="t" r="r" b="b"/>
                <a:pathLst>
                  <a:path w="3658" h="3132" extrusionOk="0">
                    <a:moveTo>
                      <a:pt x="1582" y="1"/>
                    </a:moveTo>
                    <a:cubicBezTo>
                      <a:pt x="780" y="1"/>
                      <a:pt x="14" y="624"/>
                      <a:pt x="14" y="1561"/>
                    </a:cubicBezTo>
                    <a:cubicBezTo>
                      <a:pt x="1" y="2432"/>
                      <a:pt x="714" y="3132"/>
                      <a:pt x="1572" y="3132"/>
                    </a:cubicBezTo>
                    <a:cubicBezTo>
                      <a:pt x="2971" y="3132"/>
                      <a:pt x="3658" y="1442"/>
                      <a:pt x="2681" y="465"/>
                    </a:cubicBezTo>
                    <a:cubicBezTo>
                      <a:pt x="2360" y="144"/>
                      <a:pt x="1967" y="1"/>
                      <a:pt x="1582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70" name="Google Shape;231;p18">
                <a:extLst>
                  <a:ext uri="{FF2B5EF4-FFF2-40B4-BE49-F238E27FC236}">
                    <a16:creationId xmlns:a16="http://schemas.microsoft.com/office/drawing/2014/main" id="{497319D2-AECA-42DB-A590-D366D8975FF1}"/>
                  </a:ext>
                </a:extLst>
              </p:cNvPr>
              <p:cNvSpPr/>
              <p:nvPr/>
            </p:nvSpPr>
            <p:spPr>
              <a:xfrm>
                <a:off x="3824755" y="2838269"/>
                <a:ext cx="225196" cy="225196"/>
              </a:xfrm>
              <a:custGeom>
                <a:avLst/>
                <a:gdLst/>
                <a:ahLst/>
                <a:cxnLst/>
                <a:rect l="l" t="t" r="r" b="b"/>
                <a:pathLst>
                  <a:path w="3658" h="3658" extrusionOk="0">
                    <a:moveTo>
                      <a:pt x="14" y="2087"/>
                    </a:moveTo>
                    <a:cubicBezTo>
                      <a:pt x="14" y="700"/>
                      <a:pt x="1690" y="1"/>
                      <a:pt x="2681" y="991"/>
                    </a:cubicBezTo>
                    <a:cubicBezTo>
                      <a:pt x="3658" y="1968"/>
                      <a:pt x="2971" y="3658"/>
                      <a:pt x="1572" y="3658"/>
                    </a:cubicBezTo>
                    <a:cubicBezTo>
                      <a:pt x="714" y="3658"/>
                      <a:pt x="1" y="2958"/>
                      <a:pt x="14" y="208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71" name="Google Shape;232;p18">
                <a:extLst>
                  <a:ext uri="{FF2B5EF4-FFF2-40B4-BE49-F238E27FC236}">
                    <a16:creationId xmlns:a16="http://schemas.microsoft.com/office/drawing/2014/main" id="{D13106FE-5764-4A67-BC8C-DC5495604143}"/>
                  </a:ext>
                </a:extLst>
              </p:cNvPr>
              <p:cNvSpPr/>
              <p:nvPr/>
            </p:nvSpPr>
            <p:spPr>
              <a:xfrm>
                <a:off x="3874313" y="2919533"/>
                <a:ext cx="95176" cy="95176"/>
              </a:xfrm>
              <a:custGeom>
                <a:avLst/>
                <a:gdLst/>
                <a:ahLst/>
                <a:cxnLst/>
                <a:rect l="l" t="t" r="r" b="b"/>
                <a:pathLst>
                  <a:path w="1546" h="1546" extrusionOk="0">
                    <a:moveTo>
                      <a:pt x="767" y="1"/>
                    </a:moveTo>
                    <a:cubicBezTo>
                      <a:pt x="344" y="1"/>
                      <a:pt x="1" y="344"/>
                      <a:pt x="1" y="767"/>
                    </a:cubicBezTo>
                    <a:cubicBezTo>
                      <a:pt x="1" y="1202"/>
                      <a:pt x="344" y="1546"/>
                      <a:pt x="767" y="1546"/>
                    </a:cubicBezTo>
                    <a:cubicBezTo>
                      <a:pt x="1189" y="1546"/>
                      <a:pt x="1546" y="1202"/>
                      <a:pt x="1546" y="767"/>
                    </a:cubicBezTo>
                    <a:cubicBezTo>
                      <a:pt x="1546" y="344"/>
                      <a:pt x="1189" y="1"/>
                      <a:pt x="76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</p:grpSp>
        <p:grpSp>
          <p:nvGrpSpPr>
            <p:cNvPr id="26" name="Google Shape;233;p18">
              <a:extLst>
                <a:ext uri="{FF2B5EF4-FFF2-40B4-BE49-F238E27FC236}">
                  <a16:creationId xmlns:a16="http://schemas.microsoft.com/office/drawing/2014/main" id="{71362E10-B117-45F9-9314-33C43F3EC19F}"/>
                </a:ext>
              </a:extLst>
            </p:cNvPr>
            <p:cNvGrpSpPr/>
            <p:nvPr/>
          </p:nvGrpSpPr>
          <p:grpSpPr>
            <a:xfrm>
              <a:off x="1600429" y="2939849"/>
              <a:ext cx="1510183" cy="54544"/>
              <a:chOff x="1525504" y="2939849"/>
              <a:chExt cx="1510183" cy="54544"/>
            </a:xfrm>
            <a:grpFill/>
          </p:grpSpPr>
          <p:grpSp>
            <p:nvGrpSpPr>
              <p:cNvPr id="57" name="Google Shape;234;p18">
                <a:extLst>
                  <a:ext uri="{FF2B5EF4-FFF2-40B4-BE49-F238E27FC236}">
                    <a16:creationId xmlns:a16="http://schemas.microsoft.com/office/drawing/2014/main" id="{920E374F-6086-4B62-A952-9C3C246D77F8}"/>
                  </a:ext>
                </a:extLst>
              </p:cNvPr>
              <p:cNvGrpSpPr/>
              <p:nvPr/>
            </p:nvGrpSpPr>
            <p:grpSpPr>
              <a:xfrm>
                <a:off x="2025328" y="2939849"/>
                <a:ext cx="510484" cy="54544"/>
                <a:chOff x="2997403" y="2939849"/>
                <a:chExt cx="510484" cy="54544"/>
              </a:xfrm>
              <a:grpFill/>
            </p:grpSpPr>
            <p:sp>
              <p:nvSpPr>
                <p:cNvPr id="66" name="Google Shape;235;p18">
                  <a:extLst>
                    <a:ext uri="{FF2B5EF4-FFF2-40B4-BE49-F238E27FC236}">
                      <a16:creationId xmlns:a16="http://schemas.microsoft.com/office/drawing/2014/main" id="{678BC8B0-A382-48DE-8312-9CCEA30F7F28}"/>
                    </a:ext>
                  </a:extLst>
                </p:cNvPr>
                <p:cNvSpPr/>
                <p:nvPr/>
              </p:nvSpPr>
              <p:spPr>
                <a:xfrm>
                  <a:off x="2997403" y="2939849"/>
                  <a:ext cx="10650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3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67" name="Google Shape;236;p18">
                  <a:extLst>
                    <a:ext uri="{FF2B5EF4-FFF2-40B4-BE49-F238E27FC236}">
                      <a16:creationId xmlns:a16="http://schemas.microsoft.com/office/drawing/2014/main" id="{90663FE0-AF09-4ED0-AF3F-83D7235CD7DC}"/>
                    </a:ext>
                  </a:extLst>
                </p:cNvPr>
                <p:cNvSpPr/>
                <p:nvPr/>
              </p:nvSpPr>
              <p:spPr>
                <a:xfrm>
                  <a:off x="3247720" y="2939849"/>
                  <a:ext cx="9788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9" h="886" extrusionOk="0">
                      <a:moveTo>
                        <a:pt x="1" y="1"/>
                      </a:moveTo>
                      <a:lnTo>
                        <a:pt x="1" y="885"/>
                      </a:lnTo>
                      <a:lnTo>
                        <a:pt x="159" y="885"/>
                      </a:lnTo>
                      <a:lnTo>
                        <a:pt x="159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68" name="Google Shape;237;p18">
                  <a:extLst>
                    <a:ext uri="{FF2B5EF4-FFF2-40B4-BE49-F238E27FC236}">
                      <a16:creationId xmlns:a16="http://schemas.microsoft.com/office/drawing/2014/main" id="{6FCFBA63-156C-45E5-928C-701298701268}"/>
                    </a:ext>
                  </a:extLst>
                </p:cNvPr>
                <p:cNvSpPr/>
                <p:nvPr/>
              </p:nvSpPr>
              <p:spPr>
                <a:xfrm>
                  <a:off x="3497237" y="2939849"/>
                  <a:ext cx="10650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3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</p:grpSp>
          <p:grpSp>
            <p:nvGrpSpPr>
              <p:cNvPr id="58" name="Google Shape;238;p18">
                <a:extLst>
                  <a:ext uri="{FF2B5EF4-FFF2-40B4-BE49-F238E27FC236}">
                    <a16:creationId xmlns:a16="http://schemas.microsoft.com/office/drawing/2014/main" id="{9C219AC2-7C88-4C04-A079-7B251943192D}"/>
                  </a:ext>
                </a:extLst>
              </p:cNvPr>
              <p:cNvGrpSpPr/>
              <p:nvPr/>
            </p:nvGrpSpPr>
            <p:grpSpPr>
              <a:xfrm>
                <a:off x="1525504" y="2939849"/>
                <a:ext cx="510423" cy="54544"/>
                <a:chOff x="4343304" y="2939849"/>
                <a:chExt cx="510423" cy="54544"/>
              </a:xfrm>
              <a:grpFill/>
            </p:grpSpPr>
            <p:sp>
              <p:nvSpPr>
                <p:cNvPr id="63" name="Google Shape;239;p18">
                  <a:extLst>
                    <a:ext uri="{FF2B5EF4-FFF2-40B4-BE49-F238E27FC236}">
                      <a16:creationId xmlns:a16="http://schemas.microsoft.com/office/drawing/2014/main" id="{5E69CF04-6259-40AD-880C-0E2CDCD01951}"/>
                    </a:ext>
                  </a:extLst>
                </p:cNvPr>
                <p:cNvSpPr/>
                <p:nvPr/>
              </p:nvSpPr>
              <p:spPr>
                <a:xfrm>
                  <a:off x="4343304" y="2939849"/>
                  <a:ext cx="10589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2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64" name="Google Shape;240;p18">
                  <a:extLst>
                    <a:ext uri="{FF2B5EF4-FFF2-40B4-BE49-F238E27FC236}">
                      <a16:creationId xmlns:a16="http://schemas.microsoft.com/office/drawing/2014/main" id="{BF8990F0-BE82-44C7-96B7-A363F2936ABC}"/>
                    </a:ext>
                  </a:extLst>
                </p:cNvPr>
                <p:cNvSpPr/>
                <p:nvPr/>
              </p:nvSpPr>
              <p:spPr>
                <a:xfrm>
                  <a:off x="4593621" y="2939849"/>
                  <a:ext cx="9788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9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59" y="885"/>
                      </a:lnTo>
                      <a:lnTo>
                        <a:pt x="159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65" name="Google Shape;241;p18">
                  <a:extLst>
                    <a:ext uri="{FF2B5EF4-FFF2-40B4-BE49-F238E27FC236}">
                      <a16:creationId xmlns:a16="http://schemas.microsoft.com/office/drawing/2014/main" id="{5F608B62-94A4-4970-8778-936989CC8C4C}"/>
                    </a:ext>
                  </a:extLst>
                </p:cNvPr>
                <p:cNvSpPr/>
                <p:nvPr/>
              </p:nvSpPr>
              <p:spPr>
                <a:xfrm>
                  <a:off x="4843138" y="2939849"/>
                  <a:ext cx="10589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2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</p:grpSp>
          <p:grpSp>
            <p:nvGrpSpPr>
              <p:cNvPr id="59" name="Google Shape;242;p18">
                <a:extLst>
                  <a:ext uri="{FF2B5EF4-FFF2-40B4-BE49-F238E27FC236}">
                    <a16:creationId xmlns:a16="http://schemas.microsoft.com/office/drawing/2014/main" id="{0DD9AA7B-7B79-4AA2-963F-B8CC8A30DD40}"/>
                  </a:ext>
                </a:extLst>
              </p:cNvPr>
              <p:cNvGrpSpPr/>
              <p:nvPr/>
            </p:nvGrpSpPr>
            <p:grpSpPr>
              <a:xfrm>
                <a:off x="2525203" y="2939849"/>
                <a:ext cx="510484" cy="54544"/>
                <a:chOff x="2997403" y="2939849"/>
                <a:chExt cx="510484" cy="54544"/>
              </a:xfrm>
              <a:grpFill/>
            </p:grpSpPr>
            <p:sp>
              <p:nvSpPr>
                <p:cNvPr id="60" name="Google Shape;243;p18">
                  <a:extLst>
                    <a:ext uri="{FF2B5EF4-FFF2-40B4-BE49-F238E27FC236}">
                      <a16:creationId xmlns:a16="http://schemas.microsoft.com/office/drawing/2014/main" id="{AE5F17BE-CFC6-444D-A416-D35809705BB8}"/>
                    </a:ext>
                  </a:extLst>
                </p:cNvPr>
                <p:cNvSpPr/>
                <p:nvPr/>
              </p:nvSpPr>
              <p:spPr>
                <a:xfrm>
                  <a:off x="2997403" y="2939849"/>
                  <a:ext cx="10650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3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61" name="Google Shape;244;p18">
                  <a:extLst>
                    <a:ext uri="{FF2B5EF4-FFF2-40B4-BE49-F238E27FC236}">
                      <a16:creationId xmlns:a16="http://schemas.microsoft.com/office/drawing/2014/main" id="{28B2AF85-A5D9-42F0-90E8-8621CE1C3EA6}"/>
                    </a:ext>
                  </a:extLst>
                </p:cNvPr>
                <p:cNvSpPr/>
                <p:nvPr/>
              </p:nvSpPr>
              <p:spPr>
                <a:xfrm>
                  <a:off x="3247720" y="2939849"/>
                  <a:ext cx="9788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9" h="886" extrusionOk="0">
                      <a:moveTo>
                        <a:pt x="1" y="1"/>
                      </a:moveTo>
                      <a:lnTo>
                        <a:pt x="1" y="885"/>
                      </a:lnTo>
                      <a:lnTo>
                        <a:pt x="159" y="885"/>
                      </a:lnTo>
                      <a:lnTo>
                        <a:pt x="159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62" name="Google Shape;245;p18">
                  <a:extLst>
                    <a:ext uri="{FF2B5EF4-FFF2-40B4-BE49-F238E27FC236}">
                      <a16:creationId xmlns:a16="http://schemas.microsoft.com/office/drawing/2014/main" id="{4E32950C-A18D-4D14-B0A8-8729A31D785B}"/>
                    </a:ext>
                  </a:extLst>
                </p:cNvPr>
                <p:cNvSpPr/>
                <p:nvPr/>
              </p:nvSpPr>
              <p:spPr>
                <a:xfrm>
                  <a:off x="3497237" y="2939849"/>
                  <a:ext cx="10650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3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</p:grpSp>
        </p:grpSp>
        <p:grpSp>
          <p:nvGrpSpPr>
            <p:cNvPr id="27" name="Google Shape;246;p18">
              <a:extLst>
                <a:ext uri="{FF2B5EF4-FFF2-40B4-BE49-F238E27FC236}">
                  <a16:creationId xmlns:a16="http://schemas.microsoft.com/office/drawing/2014/main" id="{81D43B10-41C9-49D7-B647-5D49ADA9367F}"/>
                </a:ext>
              </a:extLst>
            </p:cNvPr>
            <p:cNvGrpSpPr/>
            <p:nvPr/>
          </p:nvGrpSpPr>
          <p:grpSpPr>
            <a:xfrm>
              <a:off x="1206187" y="2839069"/>
              <a:ext cx="225996" cy="225196"/>
              <a:chOff x="1092762" y="2839069"/>
              <a:chExt cx="225996" cy="225196"/>
            </a:xfrm>
            <a:grpFill/>
          </p:grpSpPr>
          <p:sp>
            <p:nvSpPr>
              <p:cNvPr id="54" name="Google Shape;247;p18">
                <a:extLst>
                  <a:ext uri="{FF2B5EF4-FFF2-40B4-BE49-F238E27FC236}">
                    <a16:creationId xmlns:a16="http://schemas.microsoft.com/office/drawing/2014/main" id="{587E77CD-516B-4666-BEC2-066C8D7CD290}"/>
                  </a:ext>
                </a:extLst>
              </p:cNvPr>
              <p:cNvSpPr/>
              <p:nvPr/>
            </p:nvSpPr>
            <p:spPr>
              <a:xfrm>
                <a:off x="1092762" y="2871020"/>
                <a:ext cx="225996" cy="193245"/>
              </a:xfrm>
              <a:custGeom>
                <a:avLst/>
                <a:gdLst/>
                <a:ahLst/>
                <a:cxnLst/>
                <a:rect l="l" t="t" r="r" b="b"/>
                <a:pathLst>
                  <a:path w="3671" h="3139" extrusionOk="0">
                    <a:moveTo>
                      <a:pt x="1588" y="0"/>
                    </a:moveTo>
                    <a:cubicBezTo>
                      <a:pt x="786" y="0"/>
                      <a:pt x="14" y="618"/>
                      <a:pt x="14" y="1555"/>
                    </a:cubicBezTo>
                    <a:cubicBezTo>
                      <a:pt x="1" y="2426"/>
                      <a:pt x="714" y="3139"/>
                      <a:pt x="1572" y="3139"/>
                    </a:cubicBezTo>
                    <a:cubicBezTo>
                      <a:pt x="2971" y="3126"/>
                      <a:pt x="3671" y="1449"/>
                      <a:pt x="2681" y="459"/>
                    </a:cubicBezTo>
                    <a:cubicBezTo>
                      <a:pt x="2364" y="142"/>
                      <a:pt x="1973" y="0"/>
                      <a:pt x="158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55" name="Google Shape;248;p18">
                <a:extLst>
                  <a:ext uri="{FF2B5EF4-FFF2-40B4-BE49-F238E27FC236}">
                    <a16:creationId xmlns:a16="http://schemas.microsoft.com/office/drawing/2014/main" id="{A48A65AA-F8B4-442D-8D32-BA0F18DC56EC}"/>
                  </a:ext>
                </a:extLst>
              </p:cNvPr>
              <p:cNvSpPr/>
              <p:nvPr/>
            </p:nvSpPr>
            <p:spPr>
              <a:xfrm>
                <a:off x="1092762" y="2839069"/>
                <a:ext cx="225996" cy="225196"/>
              </a:xfrm>
              <a:custGeom>
                <a:avLst/>
                <a:gdLst/>
                <a:ahLst/>
                <a:cxnLst/>
                <a:rect l="l" t="t" r="r" b="b"/>
                <a:pathLst>
                  <a:path w="3671" h="3658" extrusionOk="0">
                    <a:moveTo>
                      <a:pt x="14" y="2074"/>
                    </a:moveTo>
                    <a:cubicBezTo>
                      <a:pt x="14" y="687"/>
                      <a:pt x="1704" y="1"/>
                      <a:pt x="2681" y="978"/>
                    </a:cubicBezTo>
                    <a:cubicBezTo>
                      <a:pt x="3671" y="1968"/>
                      <a:pt x="2971" y="3645"/>
                      <a:pt x="1572" y="3658"/>
                    </a:cubicBezTo>
                    <a:cubicBezTo>
                      <a:pt x="714" y="3658"/>
                      <a:pt x="1" y="2945"/>
                      <a:pt x="14" y="207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  <p:sp>
            <p:nvSpPr>
              <p:cNvPr id="56" name="Google Shape;249;p18">
                <a:extLst>
                  <a:ext uri="{FF2B5EF4-FFF2-40B4-BE49-F238E27FC236}">
                    <a16:creationId xmlns:a16="http://schemas.microsoft.com/office/drawing/2014/main" id="{C29DF926-2B21-475A-BBCB-7EE7AFE3EC1D}"/>
                  </a:ext>
                </a:extLst>
              </p:cNvPr>
              <p:cNvSpPr/>
              <p:nvPr/>
            </p:nvSpPr>
            <p:spPr>
              <a:xfrm>
                <a:off x="1142382" y="2919533"/>
                <a:ext cx="95114" cy="95176"/>
              </a:xfrm>
              <a:custGeom>
                <a:avLst/>
                <a:gdLst/>
                <a:ahLst/>
                <a:cxnLst/>
                <a:rect l="l" t="t" r="r" b="b"/>
                <a:pathLst>
                  <a:path w="1545" h="1546" extrusionOk="0">
                    <a:moveTo>
                      <a:pt x="766" y="1"/>
                    </a:moveTo>
                    <a:cubicBezTo>
                      <a:pt x="343" y="1"/>
                      <a:pt x="0" y="344"/>
                      <a:pt x="0" y="767"/>
                    </a:cubicBezTo>
                    <a:cubicBezTo>
                      <a:pt x="0" y="1202"/>
                      <a:pt x="343" y="1546"/>
                      <a:pt x="766" y="1546"/>
                    </a:cubicBezTo>
                    <a:cubicBezTo>
                      <a:pt x="1202" y="1546"/>
                      <a:pt x="1545" y="1202"/>
                      <a:pt x="1545" y="767"/>
                    </a:cubicBezTo>
                    <a:cubicBezTo>
                      <a:pt x="1545" y="344"/>
                      <a:pt x="1202" y="1"/>
                      <a:pt x="766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dirty="0"/>
              </a:p>
            </p:txBody>
          </p:sp>
        </p:grpSp>
        <p:grpSp>
          <p:nvGrpSpPr>
            <p:cNvPr id="28" name="Google Shape;250;p18">
              <a:extLst>
                <a:ext uri="{FF2B5EF4-FFF2-40B4-BE49-F238E27FC236}">
                  <a16:creationId xmlns:a16="http://schemas.microsoft.com/office/drawing/2014/main" id="{468FBE74-3B17-49A9-8425-1F729A93DFFC}"/>
                </a:ext>
              </a:extLst>
            </p:cNvPr>
            <p:cNvGrpSpPr/>
            <p:nvPr/>
          </p:nvGrpSpPr>
          <p:grpSpPr>
            <a:xfrm>
              <a:off x="3833442" y="2936436"/>
              <a:ext cx="1510183" cy="54544"/>
              <a:chOff x="1525504" y="2939849"/>
              <a:chExt cx="1510183" cy="54544"/>
            </a:xfrm>
            <a:grpFill/>
          </p:grpSpPr>
          <p:grpSp>
            <p:nvGrpSpPr>
              <p:cNvPr id="42" name="Google Shape;251;p18">
                <a:extLst>
                  <a:ext uri="{FF2B5EF4-FFF2-40B4-BE49-F238E27FC236}">
                    <a16:creationId xmlns:a16="http://schemas.microsoft.com/office/drawing/2014/main" id="{5E384D37-CA44-4CD3-ADCC-D7BFD5D4944E}"/>
                  </a:ext>
                </a:extLst>
              </p:cNvPr>
              <p:cNvGrpSpPr/>
              <p:nvPr/>
            </p:nvGrpSpPr>
            <p:grpSpPr>
              <a:xfrm>
                <a:off x="2025328" y="2939849"/>
                <a:ext cx="510484" cy="54544"/>
                <a:chOff x="2997403" y="2939849"/>
                <a:chExt cx="510484" cy="54544"/>
              </a:xfrm>
              <a:grpFill/>
            </p:grpSpPr>
            <p:sp>
              <p:nvSpPr>
                <p:cNvPr id="51" name="Google Shape;252;p18">
                  <a:extLst>
                    <a:ext uri="{FF2B5EF4-FFF2-40B4-BE49-F238E27FC236}">
                      <a16:creationId xmlns:a16="http://schemas.microsoft.com/office/drawing/2014/main" id="{678698F2-EE6D-4BB7-9ABA-E53A1393DB4C}"/>
                    </a:ext>
                  </a:extLst>
                </p:cNvPr>
                <p:cNvSpPr/>
                <p:nvPr/>
              </p:nvSpPr>
              <p:spPr>
                <a:xfrm>
                  <a:off x="2997403" y="2939849"/>
                  <a:ext cx="10650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3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52" name="Google Shape;253;p18">
                  <a:extLst>
                    <a:ext uri="{FF2B5EF4-FFF2-40B4-BE49-F238E27FC236}">
                      <a16:creationId xmlns:a16="http://schemas.microsoft.com/office/drawing/2014/main" id="{D91BA903-87EB-4BFF-A39B-B5460DF1C796}"/>
                    </a:ext>
                  </a:extLst>
                </p:cNvPr>
                <p:cNvSpPr/>
                <p:nvPr/>
              </p:nvSpPr>
              <p:spPr>
                <a:xfrm>
                  <a:off x="3247720" y="2939849"/>
                  <a:ext cx="9788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9" h="886" extrusionOk="0">
                      <a:moveTo>
                        <a:pt x="1" y="1"/>
                      </a:moveTo>
                      <a:lnTo>
                        <a:pt x="1" y="885"/>
                      </a:lnTo>
                      <a:lnTo>
                        <a:pt x="159" y="885"/>
                      </a:lnTo>
                      <a:lnTo>
                        <a:pt x="159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53" name="Google Shape;254;p18">
                  <a:extLst>
                    <a:ext uri="{FF2B5EF4-FFF2-40B4-BE49-F238E27FC236}">
                      <a16:creationId xmlns:a16="http://schemas.microsoft.com/office/drawing/2014/main" id="{0EDCFDCF-D0F4-4EC5-98CC-C57EB6F3E9B5}"/>
                    </a:ext>
                  </a:extLst>
                </p:cNvPr>
                <p:cNvSpPr/>
                <p:nvPr/>
              </p:nvSpPr>
              <p:spPr>
                <a:xfrm>
                  <a:off x="3497237" y="2939849"/>
                  <a:ext cx="10650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3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</p:grpSp>
          <p:grpSp>
            <p:nvGrpSpPr>
              <p:cNvPr id="43" name="Google Shape;255;p18">
                <a:extLst>
                  <a:ext uri="{FF2B5EF4-FFF2-40B4-BE49-F238E27FC236}">
                    <a16:creationId xmlns:a16="http://schemas.microsoft.com/office/drawing/2014/main" id="{CE9F879C-C760-4DB8-874C-EF86312B5DB3}"/>
                  </a:ext>
                </a:extLst>
              </p:cNvPr>
              <p:cNvGrpSpPr/>
              <p:nvPr/>
            </p:nvGrpSpPr>
            <p:grpSpPr>
              <a:xfrm>
                <a:off x="1525504" y="2939849"/>
                <a:ext cx="510423" cy="54544"/>
                <a:chOff x="4343304" y="2939849"/>
                <a:chExt cx="510423" cy="54544"/>
              </a:xfrm>
              <a:grpFill/>
            </p:grpSpPr>
            <p:sp>
              <p:nvSpPr>
                <p:cNvPr id="48" name="Google Shape;256;p18">
                  <a:extLst>
                    <a:ext uri="{FF2B5EF4-FFF2-40B4-BE49-F238E27FC236}">
                      <a16:creationId xmlns:a16="http://schemas.microsoft.com/office/drawing/2014/main" id="{B26A4945-8C68-4578-8C46-3B9B6B5996DD}"/>
                    </a:ext>
                  </a:extLst>
                </p:cNvPr>
                <p:cNvSpPr/>
                <p:nvPr/>
              </p:nvSpPr>
              <p:spPr>
                <a:xfrm>
                  <a:off x="4343304" y="2939849"/>
                  <a:ext cx="10589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2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49" name="Google Shape;257;p18">
                  <a:extLst>
                    <a:ext uri="{FF2B5EF4-FFF2-40B4-BE49-F238E27FC236}">
                      <a16:creationId xmlns:a16="http://schemas.microsoft.com/office/drawing/2014/main" id="{AC3BBE6E-B5C4-4C97-8941-B98D4B9B5A69}"/>
                    </a:ext>
                  </a:extLst>
                </p:cNvPr>
                <p:cNvSpPr/>
                <p:nvPr/>
              </p:nvSpPr>
              <p:spPr>
                <a:xfrm>
                  <a:off x="4593621" y="2939849"/>
                  <a:ext cx="9788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9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59" y="885"/>
                      </a:lnTo>
                      <a:lnTo>
                        <a:pt x="159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50" name="Google Shape;258;p18">
                  <a:extLst>
                    <a:ext uri="{FF2B5EF4-FFF2-40B4-BE49-F238E27FC236}">
                      <a16:creationId xmlns:a16="http://schemas.microsoft.com/office/drawing/2014/main" id="{24DA3D74-B5D8-4DF6-BDDB-2AFC9716756A}"/>
                    </a:ext>
                  </a:extLst>
                </p:cNvPr>
                <p:cNvSpPr/>
                <p:nvPr/>
              </p:nvSpPr>
              <p:spPr>
                <a:xfrm>
                  <a:off x="4843138" y="2939849"/>
                  <a:ext cx="10589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2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</p:grpSp>
          <p:grpSp>
            <p:nvGrpSpPr>
              <p:cNvPr id="44" name="Google Shape;259;p18">
                <a:extLst>
                  <a:ext uri="{FF2B5EF4-FFF2-40B4-BE49-F238E27FC236}">
                    <a16:creationId xmlns:a16="http://schemas.microsoft.com/office/drawing/2014/main" id="{747D62CF-6DE7-4683-98C5-94D11523A20B}"/>
                  </a:ext>
                </a:extLst>
              </p:cNvPr>
              <p:cNvGrpSpPr/>
              <p:nvPr/>
            </p:nvGrpSpPr>
            <p:grpSpPr>
              <a:xfrm>
                <a:off x="2525203" y="2939849"/>
                <a:ext cx="510484" cy="54544"/>
                <a:chOff x="2997403" y="2939849"/>
                <a:chExt cx="510484" cy="54544"/>
              </a:xfrm>
              <a:grpFill/>
            </p:grpSpPr>
            <p:sp>
              <p:nvSpPr>
                <p:cNvPr id="45" name="Google Shape;260;p18">
                  <a:extLst>
                    <a:ext uri="{FF2B5EF4-FFF2-40B4-BE49-F238E27FC236}">
                      <a16:creationId xmlns:a16="http://schemas.microsoft.com/office/drawing/2014/main" id="{F5357CC3-EC07-4B75-A5D9-23F253BEAFCC}"/>
                    </a:ext>
                  </a:extLst>
                </p:cNvPr>
                <p:cNvSpPr/>
                <p:nvPr/>
              </p:nvSpPr>
              <p:spPr>
                <a:xfrm>
                  <a:off x="2997403" y="2939849"/>
                  <a:ext cx="10650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3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46" name="Google Shape;261;p18">
                  <a:extLst>
                    <a:ext uri="{FF2B5EF4-FFF2-40B4-BE49-F238E27FC236}">
                      <a16:creationId xmlns:a16="http://schemas.microsoft.com/office/drawing/2014/main" id="{D9F38B3F-4AB9-4235-9206-20BDCA9F4574}"/>
                    </a:ext>
                  </a:extLst>
                </p:cNvPr>
                <p:cNvSpPr/>
                <p:nvPr/>
              </p:nvSpPr>
              <p:spPr>
                <a:xfrm>
                  <a:off x="3247720" y="2939849"/>
                  <a:ext cx="9788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9" h="886" extrusionOk="0">
                      <a:moveTo>
                        <a:pt x="1" y="1"/>
                      </a:moveTo>
                      <a:lnTo>
                        <a:pt x="1" y="885"/>
                      </a:lnTo>
                      <a:lnTo>
                        <a:pt x="159" y="885"/>
                      </a:lnTo>
                      <a:lnTo>
                        <a:pt x="159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47" name="Google Shape;262;p18">
                  <a:extLst>
                    <a:ext uri="{FF2B5EF4-FFF2-40B4-BE49-F238E27FC236}">
                      <a16:creationId xmlns:a16="http://schemas.microsoft.com/office/drawing/2014/main" id="{5B5D9482-874C-4A53-B7E9-65111EFC0E9A}"/>
                    </a:ext>
                  </a:extLst>
                </p:cNvPr>
                <p:cNvSpPr/>
                <p:nvPr/>
              </p:nvSpPr>
              <p:spPr>
                <a:xfrm>
                  <a:off x="3497237" y="2939849"/>
                  <a:ext cx="10650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3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</p:grpSp>
        </p:grpSp>
        <p:grpSp>
          <p:nvGrpSpPr>
            <p:cNvPr id="29" name="Google Shape;263;p18">
              <a:extLst>
                <a:ext uri="{FF2B5EF4-FFF2-40B4-BE49-F238E27FC236}">
                  <a16:creationId xmlns:a16="http://schemas.microsoft.com/office/drawing/2014/main" id="{86F96BB3-3056-485E-B2BA-95B5B16314B6}"/>
                </a:ext>
              </a:extLst>
            </p:cNvPr>
            <p:cNvGrpSpPr/>
            <p:nvPr/>
          </p:nvGrpSpPr>
          <p:grpSpPr>
            <a:xfrm>
              <a:off x="6012742" y="2936436"/>
              <a:ext cx="1510183" cy="54544"/>
              <a:chOff x="1525504" y="2939849"/>
              <a:chExt cx="1510183" cy="54544"/>
            </a:xfrm>
            <a:grpFill/>
          </p:grpSpPr>
          <p:grpSp>
            <p:nvGrpSpPr>
              <p:cNvPr id="30" name="Google Shape;264;p18">
                <a:extLst>
                  <a:ext uri="{FF2B5EF4-FFF2-40B4-BE49-F238E27FC236}">
                    <a16:creationId xmlns:a16="http://schemas.microsoft.com/office/drawing/2014/main" id="{CA2766D4-C204-497B-AE97-BC5304048F6C}"/>
                  </a:ext>
                </a:extLst>
              </p:cNvPr>
              <p:cNvGrpSpPr/>
              <p:nvPr/>
            </p:nvGrpSpPr>
            <p:grpSpPr>
              <a:xfrm>
                <a:off x="2025328" y="2939849"/>
                <a:ext cx="510484" cy="54544"/>
                <a:chOff x="2997403" y="2939849"/>
                <a:chExt cx="510484" cy="54544"/>
              </a:xfrm>
              <a:grpFill/>
            </p:grpSpPr>
            <p:sp>
              <p:nvSpPr>
                <p:cNvPr id="39" name="Google Shape;265;p18">
                  <a:extLst>
                    <a:ext uri="{FF2B5EF4-FFF2-40B4-BE49-F238E27FC236}">
                      <a16:creationId xmlns:a16="http://schemas.microsoft.com/office/drawing/2014/main" id="{CBF8D0BB-0F57-486C-9A7F-293BE568F9BE}"/>
                    </a:ext>
                  </a:extLst>
                </p:cNvPr>
                <p:cNvSpPr/>
                <p:nvPr/>
              </p:nvSpPr>
              <p:spPr>
                <a:xfrm>
                  <a:off x="2997403" y="2939849"/>
                  <a:ext cx="10650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3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40" name="Google Shape;266;p18">
                  <a:extLst>
                    <a:ext uri="{FF2B5EF4-FFF2-40B4-BE49-F238E27FC236}">
                      <a16:creationId xmlns:a16="http://schemas.microsoft.com/office/drawing/2014/main" id="{A8326329-B271-476F-A8A3-59234E16E103}"/>
                    </a:ext>
                  </a:extLst>
                </p:cNvPr>
                <p:cNvSpPr/>
                <p:nvPr/>
              </p:nvSpPr>
              <p:spPr>
                <a:xfrm>
                  <a:off x="3247720" y="2939849"/>
                  <a:ext cx="9788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9" h="886" extrusionOk="0">
                      <a:moveTo>
                        <a:pt x="1" y="1"/>
                      </a:moveTo>
                      <a:lnTo>
                        <a:pt x="1" y="885"/>
                      </a:lnTo>
                      <a:lnTo>
                        <a:pt x="159" y="885"/>
                      </a:lnTo>
                      <a:lnTo>
                        <a:pt x="159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41" name="Google Shape;267;p18">
                  <a:extLst>
                    <a:ext uri="{FF2B5EF4-FFF2-40B4-BE49-F238E27FC236}">
                      <a16:creationId xmlns:a16="http://schemas.microsoft.com/office/drawing/2014/main" id="{D09117ED-0A66-4B7D-ACBF-8B77E739D12F}"/>
                    </a:ext>
                  </a:extLst>
                </p:cNvPr>
                <p:cNvSpPr/>
                <p:nvPr/>
              </p:nvSpPr>
              <p:spPr>
                <a:xfrm>
                  <a:off x="3497237" y="2939849"/>
                  <a:ext cx="10650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3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</p:grpSp>
          <p:grpSp>
            <p:nvGrpSpPr>
              <p:cNvPr id="31" name="Google Shape;268;p18">
                <a:extLst>
                  <a:ext uri="{FF2B5EF4-FFF2-40B4-BE49-F238E27FC236}">
                    <a16:creationId xmlns:a16="http://schemas.microsoft.com/office/drawing/2014/main" id="{BBBC2052-1889-4BD3-AD5E-E05DD9BC825A}"/>
                  </a:ext>
                </a:extLst>
              </p:cNvPr>
              <p:cNvGrpSpPr/>
              <p:nvPr/>
            </p:nvGrpSpPr>
            <p:grpSpPr>
              <a:xfrm>
                <a:off x="1525504" y="2939849"/>
                <a:ext cx="510423" cy="54544"/>
                <a:chOff x="4343304" y="2939849"/>
                <a:chExt cx="510423" cy="54544"/>
              </a:xfrm>
              <a:grpFill/>
            </p:grpSpPr>
            <p:sp>
              <p:nvSpPr>
                <p:cNvPr id="36" name="Google Shape;269;p18">
                  <a:extLst>
                    <a:ext uri="{FF2B5EF4-FFF2-40B4-BE49-F238E27FC236}">
                      <a16:creationId xmlns:a16="http://schemas.microsoft.com/office/drawing/2014/main" id="{B18ECBD4-1424-4097-BD43-B2F3827A903D}"/>
                    </a:ext>
                  </a:extLst>
                </p:cNvPr>
                <p:cNvSpPr/>
                <p:nvPr/>
              </p:nvSpPr>
              <p:spPr>
                <a:xfrm>
                  <a:off x="4343304" y="2939849"/>
                  <a:ext cx="10589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2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37" name="Google Shape;270;p18">
                  <a:extLst>
                    <a:ext uri="{FF2B5EF4-FFF2-40B4-BE49-F238E27FC236}">
                      <a16:creationId xmlns:a16="http://schemas.microsoft.com/office/drawing/2014/main" id="{373D141E-398A-4810-B3DC-B531076380A9}"/>
                    </a:ext>
                  </a:extLst>
                </p:cNvPr>
                <p:cNvSpPr/>
                <p:nvPr/>
              </p:nvSpPr>
              <p:spPr>
                <a:xfrm>
                  <a:off x="4593621" y="2939849"/>
                  <a:ext cx="9788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9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59" y="885"/>
                      </a:lnTo>
                      <a:lnTo>
                        <a:pt x="159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38" name="Google Shape;271;p18">
                  <a:extLst>
                    <a:ext uri="{FF2B5EF4-FFF2-40B4-BE49-F238E27FC236}">
                      <a16:creationId xmlns:a16="http://schemas.microsoft.com/office/drawing/2014/main" id="{C86D4E63-5935-438A-93E1-A3F09F9CB9DE}"/>
                    </a:ext>
                  </a:extLst>
                </p:cNvPr>
                <p:cNvSpPr/>
                <p:nvPr/>
              </p:nvSpPr>
              <p:spPr>
                <a:xfrm>
                  <a:off x="4843138" y="2939849"/>
                  <a:ext cx="10589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2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</p:grpSp>
          <p:grpSp>
            <p:nvGrpSpPr>
              <p:cNvPr id="32" name="Google Shape;272;p18">
                <a:extLst>
                  <a:ext uri="{FF2B5EF4-FFF2-40B4-BE49-F238E27FC236}">
                    <a16:creationId xmlns:a16="http://schemas.microsoft.com/office/drawing/2014/main" id="{6422AFC7-8989-4D51-855F-EC8D80663C60}"/>
                  </a:ext>
                </a:extLst>
              </p:cNvPr>
              <p:cNvGrpSpPr/>
              <p:nvPr/>
            </p:nvGrpSpPr>
            <p:grpSpPr>
              <a:xfrm>
                <a:off x="2525203" y="2939849"/>
                <a:ext cx="510484" cy="54544"/>
                <a:chOff x="2997403" y="2939849"/>
                <a:chExt cx="510484" cy="54544"/>
              </a:xfrm>
              <a:grpFill/>
            </p:grpSpPr>
            <p:sp>
              <p:nvSpPr>
                <p:cNvPr id="33" name="Google Shape;273;p18">
                  <a:extLst>
                    <a:ext uri="{FF2B5EF4-FFF2-40B4-BE49-F238E27FC236}">
                      <a16:creationId xmlns:a16="http://schemas.microsoft.com/office/drawing/2014/main" id="{D8DDAE5C-EE76-49DD-B8A2-26E22D4E7B06}"/>
                    </a:ext>
                  </a:extLst>
                </p:cNvPr>
                <p:cNvSpPr/>
                <p:nvPr/>
              </p:nvSpPr>
              <p:spPr>
                <a:xfrm>
                  <a:off x="2997403" y="2939849"/>
                  <a:ext cx="10650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3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34" name="Google Shape;274;p18">
                  <a:extLst>
                    <a:ext uri="{FF2B5EF4-FFF2-40B4-BE49-F238E27FC236}">
                      <a16:creationId xmlns:a16="http://schemas.microsoft.com/office/drawing/2014/main" id="{3734C152-8C29-401D-9404-49CAEFAE992D}"/>
                    </a:ext>
                  </a:extLst>
                </p:cNvPr>
                <p:cNvSpPr/>
                <p:nvPr/>
              </p:nvSpPr>
              <p:spPr>
                <a:xfrm>
                  <a:off x="3247720" y="2939849"/>
                  <a:ext cx="9788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9" h="886" extrusionOk="0">
                      <a:moveTo>
                        <a:pt x="1" y="1"/>
                      </a:moveTo>
                      <a:lnTo>
                        <a:pt x="1" y="885"/>
                      </a:lnTo>
                      <a:lnTo>
                        <a:pt x="159" y="885"/>
                      </a:lnTo>
                      <a:lnTo>
                        <a:pt x="159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  <p:sp>
              <p:nvSpPr>
                <p:cNvPr id="35" name="Google Shape;275;p18">
                  <a:extLst>
                    <a:ext uri="{FF2B5EF4-FFF2-40B4-BE49-F238E27FC236}">
                      <a16:creationId xmlns:a16="http://schemas.microsoft.com/office/drawing/2014/main" id="{8DF56984-AA6C-41BA-BB45-92E2249E5178}"/>
                    </a:ext>
                  </a:extLst>
                </p:cNvPr>
                <p:cNvSpPr/>
                <p:nvPr/>
              </p:nvSpPr>
              <p:spPr>
                <a:xfrm>
                  <a:off x="3497237" y="2939849"/>
                  <a:ext cx="10650" cy="545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3" h="886" extrusionOk="0">
                      <a:moveTo>
                        <a:pt x="0" y="1"/>
                      </a:moveTo>
                      <a:lnTo>
                        <a:pt x="0" y="885"/>
                      </a:lnTo>
                      <a:lnTo>
                        <a:pt x="172" y="885"/>
                      </a:lnTo>
                      <a:lnTo>
                        <a:pt x="172" y="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dirty="0"/>
                </a:p>
              </p:txBody>
            </p:sp>
          </p:grpSp>
        </p:grpSp>
      </p:grpSp>
      <p:sp>
        <p:nvSpPr>
          <p:cNvPr id="78" name="Ορθογώνιο 77"/>
          <p:cNvSpPr/>
          <p:nvPr/>
        </p:nvSpPr>
        <p:spPr>
          <a:xfrm>
            <a:off x="949142" y="3915283"/>
            <a:ext cx="3636588" cy="7052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50000"/>
              </a:lnSpc>
            </a:pPr>
            <a:r>
              <a:rPr lang="el-GR" sz="1400" b="1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Έναρξη αξιολόγησης της εμπειρίας του εσωτερικού ασθενή</a:t>
            </a:r>
          </a:p>
        </p:txBody>
      </p:sp>
      <p:sp>
        <p:nvSpPr>
          <p:cNvPr id="79" name="Ορθογώνιο 78"/>
          <p:cNvSpPr/>
          <p:nvPr/>
        </p:nvSpPr>
        <p:spPr>
          <a:xfrm>
            <a:off x="4453373" y="1981157"/>
            <a:ext cx="182845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1400" b="1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Αξιολόγηση</a:t>
            </a:r>
            <a:r>
              <a:rPr lang="en-US" sz="1400" b="1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l-GR" sz="1400" b="1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της υπηρεσίας </a:t>
            </a:r>
            <a:endParaRPr lang="el-GR" sz="1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80" name="Ορθογώνιο 79"/>
          <p:cNvSpPr/>
          <p:nvPr/>
        </p:nvSpPr>
        <p:spPr>
          <a:xfrm>
            <a:off x="6841345" y="4180353"/>
            <a:ext cx="208494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1400" b="1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ραγματοποίηση διορθωτικών ενεργειών  </a:t>
            </a:r>
            <a:endParaRPr lang="el-GR" sz="1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81" name="Ορθογώνιο 80"/>
          <p:cNvSpPr/>
          <p:nvPr/>
        </p:nvSpPr>
        <p:spPr>
          <a:xfrm>
            <a:off x="2221061" y="1986826"/>
            <a:ext cx="115730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50000"/>
              </a:lnSpc>
            </a:pPr>
            <a:r>
              <a:rPr lang="el-GR" sz="1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Ιούλιος</a:t>
            </a:r>
          </a:p>
          <a:p>
            <a:pPr lvl="0" algn="ctr">
              <a:lnSpc>
                <a:spcPct val="150000"/>
              </a:lnSpc>
            </a:pPr>
            <a:r>
              <a:rPr lang="el-GR" sz="1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2025</a:t>
            </a:r>
            <a:endParaRPr lang="el-GR" sz="1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4" name="Τίτλος 2">
            <a:extLst>
              <a:ext uri="{FF2B5EF4-FFF2-40B4-BE49-F238E27FC236}">
                <a16:creationId xmlns:a16="http://schemas.microsoft.com/office/drawing/2014/main" id="{A1311698-228E-51A7-0009-7A97F0E65B0A}"/>
              </a:ext>
            </a:extLst>
          </p:cNvPr>
          <p:cNvSpPr txBox="1">
            <a:spLocks/>
          </p:cNvSpPr>
          <p:nvPr/>
        </p:nvSpPr>
        <p:spPr>
          <a:xfrm>
            <a:off x="634287" y="456154"/>
            <a:ext cx="11492342" cy="705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2000" b="1" kern="0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Στάδια Εφαρμογής της Υπηρεσίας </a:t>
            </a:r>
            <a:endParaRPr lang="el-GR" sz="2000" kern="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779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2" name="Google Shape;362;p8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63" name="Google Shape;363;p82" descr="A close up of a logo&#10;&#10;Description automatically generated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64" name="Google Shape;364;p82"/>
            <p:cNvSpPr/>
            <p:nvPr/>
          </p:nvSpPr>
          <p:spPr>
            <a:xfrm>
              <a:off x="1063358" y="5513438"/>
              <a:ext cx="3126035" cy="302272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5" tIns="15850" rIns="111175" bIns="1585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l-GR" sz="1100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Υπουργείο Υγείας</a:t>
              </a:r>
              <a:endParaRPr sz="1400" kern="0">
                <a:solidFill>
                  <a:srgbClr val="000000"/>
                </a:solidFill>
                <a:ea typeface="Arial"/>
                <a:cs typeface="Arial"/>
                <a:sym typeface="Arial"/>
              </a:endParaRPr>
            </a:p>
          </p:txBody>
        </p:sp>
        <p:sp>
          <p:nvSpPr>
            <p:cNvPr id="365" name="Google Shape;365;p82"/>
            <p:cNvSpPr/>
            <p:nvPr/>
          </p:nvSpPr>
          <p:spPr>
            <a:xfrm>
              <a:off x="1063358" y="5311876"/>
              <a:ext cx="3126035" cy="302272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5" tIns="15850" rIns="111175" bIns="15850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  <a:buFont typeface="Arial"/>
                <a:buNone/>
              </a:pPr>
              <a:r>
                <a:rPr lang="el-GR" sz="1100" b="1"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ΕΛΛΗΝΙΚΗ ΔΗΜΟΚΡΑΤΙΑ</a:t>
              </a:r>
              <a:endParaRPr sz="1400" kern="0">
                <a:solidFill>
                  <a:srgbClr val="000000"/>
                </a:solidFill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>
          <a:xfrm>
            <a:off x="10650066" y="6152968"/>
            <a:ext cx="522000" cy="524700"/>
          </a:xfrm>
        </p:spPr>
        <p:txBody>
          <a:bodyPr/>
          <a:lstStyle/>
          <a:p>
            <a:pPr>
              <a:buClr>
                <a:srgbClr val="FFFFFF"/>
              </a:buClr>
            </a:pPr>
            <a:fld id="{00000000-1234-1234-1234-123412341234}" type="slidenum">
              <a:rPr lang="el-GR" kern="0" smtClean="0">
                <a:solidFill>
                  <a:srgbClr val="FFFFFF"/>
                </a:solidFill>
              </a:rPr>
              <a:pPr>
                <a:buClr>
                  <a:srgbClr val="FFFFFF"/>
                </a:buClr>
              </a:pPr>
              <a:t>28</a:t>
            </a:fld>
            <a:endParaRPr lang="el-GR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0820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D5BFCB-EAB9-D9C1-D00E-7372BAB397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410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Τίτλος 2">
            <a:extLst>
              <a:ext uri="{FF2B5EF4-FFF2-40B4-BE49-F238E27FC236}">
                <a16:creationId xmlns:a16="http://schemas.microsoft.com/office/drawing/2014/main" id="{524B80FB-5423-445B-DFE4-0F335A4A156B}"/>
              </a:ext>
            </a:extLst>
          </p:cNvPr>
          <p:cNvSpPr txBox="1">
            <a:spLocks/>
          </p:cNvSpPr>
          <p:nvPr/>
        </p:nvSpPr>
        <p:spPr>
          <a:xfrm>
            <a:off x="0" y="326463"/>
            <a:ext cx="12192000" cy="6653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tabLst/>
              <a:defRPr/>
            </a:pPr>
            <a:endParaRPr kumimoji="0" lang="el-GR" sz="2000" i="0" u="none" strike="noStrike" kern="0" cap="none" spc="0" normalizeH="0" baseline="0" noProof="0" dirty="0">
              <a:ln>
                <a:noFill/>
              </a:ln>
              <a:solidFill>
                <a:srgbClr val="297FD5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tabLst/>
              <a:defRPr/>
            </a:pPr>
            <a:r>
              <a:rPr kumimoji="0" lang="el-GR" sz="2000" b="1" i="0" u="none" strike="noStrike" kern="0" cap="none" spc="0" normalizeH="0" noProof="0" dirty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Αναγκαιότητα παρέμβασης – Υφιστάμενη κατάσταση  </a:t>
            </a:r>
            <a:br>
              <a:rPr kumimoji="0" lang="el-GR" sz="2000" b="1" i="0" u="none" strike="noStrike" kern="0" cap="none" spc="0" normalizeH="0" noProof="0" dirty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</a:br>
            <a:endParaRPr kumimoji="0" lang="el-GR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>
              <a:buClr>
                <a:srgbClr val="FFFFFF"/>
              </a:buClr>
            </a:pPr>
            <a:fld id="{00000000-1234-1234-1234-123412341234}" type="slidenum">
              <a:rPr lang="el-GR" kern="0" smtClean="0">
                <a:solidFill>
                  <a:srgbClr val="FFFFFF"/>
                </a:solidFill>
              </a:rPr>
              <a:pPr>
                <a:buClr>
                  <a:srgbClr val="FFFFFF"/>
                </a:buClr>
              </a:pPr>
              <a:t>3</a:t>
            </a:fld>
            <a:endParaRPr lang="el-GR" kern="0">
              <a:solidFill>
                <a:srgbClr val="FFFFFF"/>
              </a:solidFill>
            </a:endParaRPr>
          </a:p>
        </p:txBody>
      </p:sp>
      <p:graphicFrame>
        <p:nvGraphicFramePr>
          <p:cNvPr id="4" name="Θέση περιεχομένου 2">
            <a:extLst>
              <a:ext uri="{FF2B5EF4-FFF2-40B4-BE49-F238E27FC236}">
                <a16:creationId xmlns:a16="http://schemas.microsoft.com/office/drawing/2014/main" id="{4FF018AE-B7F1-35DA-A968-769204C921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6569307"/>
              </p:ext>
            </p:extLst>
          </p:nvPr>
        </p:nvGraphicFramePr>
        <p:xfrm>
          <a:off x="437105" y="1681141"/>
          <a:ext cx="11616348" cy="33640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17446082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8645F18-9AB9-C8A8-2578-53E1192116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8638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Τίτλος 2">
            <a:extLst>
              <a:ext uri="{FF2B5EF4-FFF2-40B4-BE49-F238E27FC236}">
                <a16:creationId xmlns:a16="http://schemas.microsoft.com/office/drawing/2014/main" id="{94033E06-6593-A78C-1D3F-A707201F9731}"/>
              </a:ext>
            </a:extLst>
          </p:cNvPr>
          <p:cNvSpPr txBox="1">
            <a:spLocks/>
          </p:cNvSpPr>
          <p:nvPr/>
        </p:nvSpPr>
        <p:spPr>
          <a:xfrm>
            <a:off x="0" y="326463"/>
            <a:ext cx="12192000" cy="6653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tabLst/>
              <a:defRPr/>
            </a:pPr>
            <a:endParaRPr kumimoji="0" lang="el-GR" sz="2000" i="0" u="none" strike="noStrike" kern="0" cap="none" spc="0" normalizeH="0" baseline="0" noProof="0" dirty="0">
              <a:ln>
                <a:noFill/>
              </a:ln>
              <a:solidFill>
                <a:srgbClr val="297FD5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tabLst/>
              <a:defRPr/>
            </a:pPr>
            <a:r>
              <a:rPr kumimoji="0" lang="el-GR" sz="2000" b="1" i="0" u="none" strike="noStrike" kern="0" cap="none" spc="0" normalizeH="0" noProof="0" dirty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Ο Σκοπός του Έργου, οι Συμμετέχοντες &amp; οι Άξονες Αξιολόγησης </a:t>
            </a:r>
            <a:endParaRPr kumimoji="0" lang="el-GR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4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00DC7B0-7C6D-651C-8688-9C68D263F479}"/>
              </a:ext>
            </a:extLst>
          </p:cNvPr>
          <p:cNvSpPr txBox="1"/>
          <p:nvPr/>
        </p:nvSpPr>
        <p:spPr>
          <a:xfrm>
            <a:off x="-1154188" y="4684575"/>
            <a:ext cx="1122218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Aharoni" panose="02010803020104030203" pitchFamily="2" charset="-79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Aharoni" panose="02010803020104030203" pitchFamily="2" charset="-79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Aharoni" panose="02010803020104030203" pitchFamily="2" charset="-79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Aharoni" panose="02010803020104030203" pitchFamily="2" charset="-79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Aharoni" panose="02010803020104030203" pitchFamily="2" charset="-79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Narrow" panose="020B0004020202020204" pitchFamily="34" charset="0"/>
                <a:ea typeface="+mn-ea"/>
                <a:cs typeface="Aharoni" panose="02010803020104030203" pitchFamily="2" charset="-79"/>
              </a:rPr>
              <a:t>α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 Narrow" panose="020B0004020202020204" pitchFamily="34" charset="0"/>
              <a:ea typeface="+mn-ea"/>
              <a:cs typeface="Aharoni" panose="02010803020104030203" pitchFamily="2" charset="-79"/>
            </a:endParaRPr>
          </a:p>
        </p:txBody>
      </p:sp>
      <p:graphicFrame>
        <p:nvGraphicFramePr>
          <p:cNvPr id="7" name="Διάγραμμα 6"/>
          <p:cNvGraphicFramePr/>
          <p:nvPr>
            <p:extLst>
              <p:ext uri="{D42A27DB-BD31-4B8C-83A1-F6EECF244321}">
                <p14:modId xmlns:p14="http://schemas.microsoft.com/office/powerpoint/2010/main" val="116893997"/>
              </p:ext>
            </p:extLst>
          </p:nvPr>
        </p:nvGraphicFramePr>
        <p:xfrm>
          <a:off x="0" y="1305814"/>
          <a:ext cx="12192000" cy="8179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8" name="Διάγραμμα 7"/>
          <p:cNvGraphicFramePr/>
          <p:nvPr>
            <p:extLst>
              <p:ext uri="{D42A27DB-BD31-4B8C-83A1-F6EECF244321}">
                <p14:modId xmlns:p14="http://schemas.microsoft.com/office/powerpoint/2010/main" val="3682708793"/>
              </p:ext>
            </p:extLst>
          </p:nvPr>
        </p:nvGraphicFramePr>
        <p:xfrm>
          <a:off x="1" y="2185811"/>
          <a:ext cx="12192000" cy="10099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graphicFrame>
        <p:nvGraphicFramePr>
          <p:cNvPr id="9" name="Διάγραμμα 8"/>
          <p:cNvGraphicFramePr/>
          <p:nvPr>
            <p:extLst>
              <p:ext uri="{D42A27DB-BD31-4B8C-83A1-F6EECF244321}">
                <p14:modId xmlns:p14="http://schemas.microsoft.com/office/powerpoint/2010/main" val="3869541569"/>
              </p:ext>
            </p:extLst>
          </p:nvPr>
        </p:nvGraphicFramePr>
        <p:xfrm>
          <a:off x="0" y="3257811"/>
          <a:ext cx="12191999" cy="28120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</p:spTree>
    <p:extLst>
      <p:ext uri="{BB962C8B-B14F-4D97-AF65-F5344CB8AC3E}">
        <p14:creationId xmlns:p14="http://schemas.microsoft.com/office/powerpoint/2010/main" val="5717575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AE7DF02-24EC-4C2F-C865-240E112BBB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973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Τίτλος 2">
            <a:extLst>
              <a:ext uri="{FF2B5EF4-FFF2-40B4-BE49-F238E27FC236}">
                <a16:creationId xmlns:a16="http://schemas.microsoft.com/office/drawing/2014/main" id="{4C78EE9E-FE1B-A98D-A622-A1558EBDFAA7}"/>
              </a:ext>
            </a:extLst>
          </p:cNvPr>
          <p:cNvSpPr txBox="1">
            <a:spLocks/>
          </p:cNvSpPr>
          <p:nvPr/>
        </p:nvSpPr>
        <p:spPr>
          <a:xfrm>
            <a:off x="0" y="326463"/>
            <a:ext cx="12192000" cy="6653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tabLst/>
              <a:defRPr/>
            </a:pPr>
            <a:endParaRPr kumimoji="0" lang="el-GR" sz="2000" i="0" u="none" strike="noStrike" kern="0" cap="none" spc="0" normalizeH="0" baseline="0" noProof="0" dirty="0">
              <a:ln>
                <a:noFill/>
              </a:ln>
              <a:solidFill>
                <a:srgbClr val="297FD5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tabLst/>
              <a:defRPr/>
            </a:pPr>
            <a:r>
              <a:rPr kumimoji="0" lang="el-GR" sz="2000" b="1" i="0" u="none" strike="noStrike" kern="0" cap="none" spc="0" normalizeH="0" noProof="0" dirty="0">
                <a:ln>
                  <a:noFill/>
                </a:ln>
                <a:solidFill>
                  <a:schemeClr val="tx2">
                    <a:lumMod val="2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Τα Βήματα της Διαδικασίας Αξιολόγησης </a:t>
            </a:r>
            <a:endParaRPr kumimoji="0" lang="el-GR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25000"/>
                </a:scheme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5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graphicFrame>
        <p:nvGraphicFramePr>
          <p:cNvPr id="9" name="Θέση περιεχομένου 4">
            <a:extLst>
              <a:ext uri="{FF2B5EF4-FFF2-40B4-BE49-F238E27FC236}">
                <a16:creationId xmlns:a16="http://schemas.microsoft.com/office/drawing/2014/main" id="{47814DD1-CC2A-F036-A6EA-3B3B04AF055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2024678"/>
              </p:ext>
            </p:extLst>
          </p:nvPr>
        </p:nvGraphicFramePr>
        <p:xfrm>
          <a:off x="157018" y="877456"/>
          <a:ext cx="11661593" cy="3694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13" name="Διάγραμμα 12"/>
          <p:cNvGraphicFramePr/>
          <p:nvPr>
            <p:extLst>
              <p:ext uri="{D42A27DB-BD31-4B8C-83A1-F6EECF244321}">
                <p14:modId xmlns:p14="http://schemas.microsoft.com/office/powerpoint/2010/main" val="3195259764"/>
              </p:ext>
            </p:extLst>
          </p:nvPr>
        </p:nvGraphicFramePr>
        <p:xfrm>
          <a:off x="343590" y="4646798"/>
          <a:ext cx="11475021" cy="14176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  <p:extLst>
      <p:ext uri="{BB962C8B-B14F-4D97-AF65-F5344CB8AC3E}">
        <p14:creationId xmlns:p14="http://schemas.microsoft.com/office/powerpoint/2010/main" val="33767831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>
              <a:buClr>
                <a:srgbClr val="FFFFFF"/>
              </a:buClr>
            </a:pPr>
            <a:fld id="{00000000-1234-1234-1234-123412341234}" type="slidenum">
              <a:rPr lang="el-GR" kern="0" smtClean="0">
                <a:solidFill>
                  <a:srgbClr val="FFFFFF"/>
                </a:solidFill>
              </a:rPr>
              <a:pPr>
                <a:buClr>
                  <a:srgbClr val="FFFFFF"/>
                </a:buClr>
              </a:pPr>
              <a:t>6</a:t>
            </a:fld>
            <a:endParaRPr lang="el-GR" kern="0">
              <a:solidFill>
                <a:srgbClr val="FFFFFF"/>
              </a:solidFill>
            </a:endParaRPr>
          </a:p>
        </p:txBody>
      </p:sp>
      <p:sp>
        <p:nvSpPr>
          <p:cNvPr id="3" name="Τίτλος 2"/>
          <p:cNvSpPr>
            <a:spLocks noGrp="1"/>
          </p:cNvSpPr>
          <p:nvPr>
            <p:ph type="title"/>
          </p:nvPr>
        </p:nvSpPr>
        <p:spPr>
          <a:xfrm>
            <a:off x="326269" y="542192"/>
            <a:ext cx="11492342" cy="4602463"/>
          </a:xfrm>
        </p:spPr>
        <p:txBody>
          <a:bodyPr/>
          <a:lstStyle/>
          <a:p>
            <a:pPr algn="ctr"/>
            <a:br>
              <a:rPr lang="el-GR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l-GR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l-GR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l-GR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l-GR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l-GR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Η Εφαρμογή Βήμα- Βήμα </a:t>
            </a:r>
          </a:p>
        </p:txBody>
      </p:sp>
    </p:spTree>
    <p:extLst>
      <p:ext uri="{BB962C8B-B14F-4D97-AF65-F5344CB8AC3E}">
        <p14:creationId xmlns:p14="http://schemas.microsoft.com/office/powerpoint/2010/main" val="10159407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B278371-CC98-EB96-ADEC-08BE19DCF8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9517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7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" name="Τίτλος 2"/>
          <p:cNvSpPr>
            <a:spLocks noGrp="1"/>
          </p:cNvSpPr>
          <p:nvPr>
            <p:ph type="title"/>
          </p:nvPr>
        </p:nvSpPr>
        <p:spPr>
          <a:xfrm>
            <a:off x="1176015" y="2707935"/>
            <a:ext cx="4596713" cy="623435"/>
          </a:xfrm>
        </p:spPr>
        <p:txBody>
          <a:bodyPr vert="horz"/>
          <a:lstStyle/>
          <a:p>
            <a:pPr algn="ctr"/>
            <a: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Το </a:t>
            </a:r>
            <a:r>
              <a:rPr lang="en-US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MS </a:t>
            </a:r>
            <a:b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συμμετοχής στην αξιολόγηση </a:t>
            </a:r>
          </a:p>
        </p:txBody>
      </p:sp>
      <p:pic>
        <p:nvPicPr>
          <p:cNvPr id="4" name="Εικόνα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6345" y="0"/>
            <a:ext cx="4487619" cy="6039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8968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5865253-5CF1-9759-3019-06F4AC839D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1088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8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" name="Τίτλος 2"/>
          <p:cNvSpPr>
            <a:spLocks noGrp="1"/>
          </p:cNvSpPr>
          <p:nvPr>
            <p:ph type="title"/>
          </p:nvPr>
        </p:nvSpPr>
        <p:spPr>
          <a:xfrm>
            <a:off x="326269" y="542193"/>
            <a:ext cx="11492342" cy="402688"/>
          </a:xfrm>
        </p:spPr>
        <p:txBody>
          <a:bodyPr vert="horz"/>
          <a:lstStyle/>
          <a:p>
            <a:pPr algn="ctr"/>
            <a: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Αυθεντικοποίηση Χρήστη </a:t>
            </a:r>
          </a:p>
        </p:txBody>
      </p:sp>
      <p:pic>
        <p:nvPicPr>
          <p:cNvPr id="5" name="Εικόνα 4" descr="Εικόνα που περιέχει κείμενο, στιγμιότυπο οθόνης, γραμματοσειρά, σχεδίαση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2C683FD4-70B6-DAA5-0728-B532DB1500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6269" y="1713950"/>
            <a:ext cx="6590014" cy="3829096"/>
          </a:xfrm>
          <a:prstGeom prst="rect">
            <a:avLst/>
          </a:prstGeom>
        </p:spPr>
      </p:pic>
      <p:pic>
        <p:nvPicPr>
          <p:cNvPr id="6" name="Εικόνα 5" descr="Εικόνα που περιέχει κείμενο, στιγμιότυπο οθόνης, επαγγελματική κάρτα, γραμματοσειρά&#10;&#10;Το περιεχόμενο που δημιουργείται από AI ενδέχεται να είναι εσφαλμένο.">
            <a:extLst>
              <a:ext uri="{FF2B5EF4-FFF2-40B4-BE49-F238E27FC236}">
                <a16:creationId xmlns:a16="http://schemas.microsoft.com/office/drawing/2014/main" id="{BD37F0E8-BD34-C843-1DED-EBF21234BB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16073" y="1713950"/>
            <a:ext cx="5688184" cy="3825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920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B109C38-8EF8-57F9-57DB-BC831672ED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1929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αριθμού διαφάνειας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Calibri"/>
              <a:buNone/>
              <a:tabLst/>
              <a:defRPr/>
            </a:pPr>
            <a:fld id="{00000000-1234-1234-1234-123412341234}" type="slidenum">
              <a:rPr kumimoji="0" lang="el-GR" sz="10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000"/>
                <a:buFont typeface="Calibri"/>
                <a:buNone/>
                <a:tabLst/>
                <a:defRPr/>
              </a:pPr>
              <a:t>9</a:t>
            </a:fld>
            <a:endParaRPr kumimoji="0" lang="el-GR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pic>
        <p:nvPicPr>
          <p:cNvPr id="6" name="Θέση περιεχομένου 6" descr="Εικόνα που περιέχει κείμενο, στιγμιότυπο οθόνης, γραμματοσειρά, σχεδίαση">
            <a:extLst>
              <a:ext uri="{FF2B5EF4-FFF2-40B4-BE49-F238E27FC236}">
                <a16:creationId xmlns:a16="http://schemas.microsoft.com/office/drawing/2014/main" id="{55B3CAFE-DAF4-FFE0-078F-9658F66AD9F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6625" t="4" r="27051" b="25126"/>
          <a:stretch/>
        </p:blipFill>
        <p:spPr>
          <a:xfrm>
            <a:off x="3306618" y="944881"/>
            <a:ext cx="5578764" cy="4977191"/>
          </a:xfrm>
          <a:prstGeom prst="rect">
            <a:avLst/>
          </a:prstGeom>
        </p:spPr>
      </p:pic>
      <p:sp>
        <p:nvSpPr>
          <p:cNvPr id="4" name="Τίτλος 2">
            <a:extLst>
              <a:ext uri="{FF2B5EF4-FFF2-40B4-BE49-F238E27FC236}">
                <a16:creationId xmlns:a16="http://schemas.microsoft.com/office/drawing/2014/main" id="{4FEBD941-FE12-87C8-4975-D42B26DA7AA3}"/>
              </a:ext>
            </a:extLst>
          </p:cNvPr>
          <p:cNvSpPr txBox="1">
            <a:spLocks/>
          </p:cNvSpPr>
          <p:nvPr/>
        </p:nvSpPr>
        <p:spPr>
          <a:xfrm>
            <a:off x="326269" y="542193"/>
            <a:ext cx="11492342" cy="4026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08000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53356"/>
              </a:buClr>
              <a:buSzPts val="3200"/>
              <a:buFont typeface="Helvetica Neue"/>
              <a:buNone/>
              <a:defRPr sz="2200" b="0" i="0" u="none" strike="noStrike" cap="none">
                <a:solidFill>
                  <a:srgbClr val="01347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2000" b="1" dirty="0">
                <a:solidFill>
                  <a:schemeClr val="tx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Σελίδα Σύνδεσης </a:t>
            </a:r>
            <a:endParaRPr lang="el-GR" sz="2000" b="1" kern="0" dirty="0">
              <a:solidFill>
                <a:schemeClr val="tx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1231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Blue Warm">
      <a:dk1>
        <a:srgbClr val="000000"/>
      </a:dk1>
      <a:lt1>
        <a:srgbClr val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Office Theme">
  <a:themeElements>
    <a:clrScheme name="Blue Warm">
      <a:dk1>
        <a:srgbClr val="000000"/>
      </a:dk1>
      <a:lt1>
        <a:srgbClr val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866</TotalTime>
  <Words>777</Words>
  <Application>Microsoft Office PowerPoint</Application>
  <PresentationFormat>Widescreen</PresentationFormat>
  <Paragraphs>157</Paragraphs>
  <Slides>2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8" baseType="lpstr">
      <vt:lpstr>Aptos Narrow</vt:lpstr>
      <vt:lpstr>Arial</vt:lpstr>
      <vt:lpstr>Calibri</vt:lpstr>
      <vt:lpstr>Helvetica Neue</vt:lpstr>
      <vt:lpstr>Roboto</vt:lpstr>
      <vt:lpstr>Roboto Medium</vt:lpstr>
      <vt:lpstr>Wingdings</vt:lpstr>
      <vt:lpstr>1_Office Theme</vt:lpstr>
      <vt:lpstr>3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 Η Εφαρμογή Βήμα- Βήμα </vt:lpstr>
      <vt:lpstr>Το SMS  συμμετοχής στην αξιολόγηση </vt:lpstr>
      <vt:lpstr>Αυθεντικοποίηση Χρήστη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4ος Άξονας:   Υποστήριξη &amp; Συμμετοχή στη Λήψη Αποφάσεων </vt:lpstr>
      <vt:lpstr>PowerPoint Presentation</vt:lpstr>
      <vt:lpstr>PowerPoint Presentation</vt:lpstr>
      <vt:lpstr>PowerPoint Presentation</vt:lpstr>
      <vt:lpstr>PowerPoint Presentation</vt:lpstr>
      <vt:lpstr>8ος Άξονας:  Γενική/ συνολική αξιολόγηση της παρεχόμενης φροντίδας    </vt:lpstr>
      <vt:lpstr>Πρόσβαση στα Δεδομένα &amp; Ετήσια Έκθεση Πεπραγμένων    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subject/>
  <cp:keywords/>
  <dc:description/>
  <cp:revision>480</cp:revision>
  <cp:lastPrinted>2025-07-08T12:29:02Z</cp:lastPrinted>
  <dcterms:created xsi:type="dcterms:W3CDTF">2024-02-23T12:08:32Z</dcterms:created>
  <dcterms:modified xsi:type="dcterms:W3CDTF">2025-07-09T07:08:41Z</dcterms:modified>
  <cp:category/>
</cp:coreProperties>
</file>